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8"/>
  </p:notesMasterIdLst>
  <p:sldIdLst>
    <p:sldId id="2147309849" r:id="rId5"/>
    <p:sldId id="2147309852" r:id="rId6"/>
    <p:sldId id="257" r:id="rId7"/>
    <p:sldId id="2147309859" r:id="rId8"/>
    <p:sldId id="2147309848" r:id="rId9"/>
    <p:sldId id="2147309846" r:id="rId10"/>
    <p:sldId id="2147309847" r:id="rId11"/>
    <p:sldId id="2147309851" r:id="rId12"/>
    <p:sldId id="2147309856" r:id="rId13"/>
    <p:sldId id="2147309854" r:id="rId14"/>
    <p:sldId id="2147309853" r:id="rId15"/>
    <p:sldId id="2147309868" r:id="rId16"/>
    <p:sldId id="2147309857" r:id="rId17"/>
    <p:sldId id="2147309855" r:id="rId18"/>
    <p:sldId id="2147309861" r:id="rId19"/>
    <p:sldId id="308" r:id="rId20"/>
    <p:sldId id="2147309860" r:id="rId21"/>
    <p:sldId id="276" r:id="rId22"/>
    <p:sldId id="2147309871" r:id="rId23"/>
    <p:sldId id="2147309872" r:id="rId24"/>
    <p:sldId id="2147309873" r:id="rId25"/>
    <p:sldId id="2147309874" r:id="rId26"/>
    <p:sldId id="2147309850" r:id="rId27"/>
    <p:sldId id="258" r:id="rId28"/>
    <p:sldId id="259" r:id="rId29"/>
    <p:sldId id="2147309864" r:id="rId30"/>
    <p:sldId id="2147309839" r:id="rId31"/>
    <p:sldId id="2147309858" r:id="rId32"/>
    <p:sldId id="2147309862" r:id="rId33"/>
    <p:sldId id="2147309838" r:id="rId34"/>
    <p:sldId id="2147308620" r:id="rId35"/>
    <p:sldId id="2147308611" r:id="rId36"/>
    <p:sldId id="2147309841" r:id="rId37"/>
    <p:sldId id="2147309840" r:id="rId38"/>
    <p:sldId id="2147309842" r:id="rId39"/>
    <p:sldId id="2147309843" r:id="rId40"/>
    <p:sldId id="2147309844" r:id="rId41"/>
    <p:sldId id="2147309863" r:id="rId42"/>
    <p:sldId id="2147308454" r:id="rId43"/>
    <p:sldId id="2147309867" r:id="rId44"/>
    <p:sldId id="2147309869" r:id="rId45"/>
    <p:sldId id="2147309870" r:id="rId46"/>
    <p:sldId id="2147309875" r:id="rId47"/>
  </p:sldIdLst>
  <p:sldSz cx="12192000" cy="6858000"/>
  <p:notesSz cx="6858000" cy="9144000"/>
  <p:defaultTextStyle>
    <a:defPPr>
      <a:defRPr lang="en-US"/>
    </a:defPPr>
    <a:lvl1pPr marL="0" algn="l" defTabSz="1108161" rtl="0" eaLnBrk="1" latinLnBrk="0" hangingPunct="1">
      <a:defRPr sz="2181" kern="1200">
        <a:solidFill>
          <a:schemeClr val="tx1"/>
        </a:solidFill>
        <a:latin typeface="+mn-lt"/>
        <a:ea typeface="+mn-ea"/>
        <a:cs typeface="+mn-cs"/>
      </a:defRPr>
    </a:lvl1pPr>
    <a:lvl2pPr marL="554081" algn="l" defTabSz="1108161" rtl="0" eaLnBrk="1" latinLnBrk="0" hangingPunct="1">
      <a:defRPr sz="2181" kern="1200">
        <a:solidFill>
          <a:schemeClr val="tx1"/>
        </a:solidFill>
        <a:latin typeface="+mn-lt"/>
        <a:ea typeface="+mn-ea"/>
        <a:cs typeface="+mn-cs"/>
      </a:defRPr>
    </a:lvl2pPr>
    <a:lvl3pPr marL="1108161" algn="l" defTabSz="1108161" rtl="0" eaLnBrk="1" latinLnBrk="0" hangingPunct="1">
      <a:defRPr sz="2181" kern="1200">
        <a:solidFill>
          <a:schemeClr val="tx1"/>
        </a:solidFill>
        <a:latin typeface="+mn-lt"/>
        <a:ea typeface="+mn-ea"/>
        <a:cs typeface="+mn-cs"/>
      </a:defRPr>
    </a:lvl3pPr>
    <a:lvl4pPr marL="1662242" algn="l" defTabSz="1108161" rtl="0" eaLnBrk="1" latinLnBrk="0" hangingPunct="1">
      <a:defRPr sz="2181" kern="1200">
        <a:solidFill>
          <a:schemeClr val="tx1"/>
        </a:solidFill>
        <a:latin typeface="+mn-lt"/>
        <a:ea typeface="+mn-ea"/>
        <a:cs typeface="+mn-cs"/>
      </a:defRPr>
    </a:lvl4pPr>
    <a:lvl5pPr marL="2216323" algn="l" defTabSz="1108161" rtl="0" eaLnBrk="1" latinLnBrk="0" hangingPunct="1">
      <a:defRPr sz="2181" kern="1200">
        <a:solidFill>
          <a:schemeClr val="tx1"/>
        </a:solidFill>
        <a:latin typeface="+mn-lt"/>
        <a:ea typeface="+mn-ea"/>
        <a:cs typeface="+mn-cs"/>
      </a:defRPr>
    </a:lvl5pPr>
    <a:lvl6pPr marL="2770403" algn="l" defTabSz="1108161" rtl="0" eaLnBrk="1" latinLnBrk="0" hangingPunct="1">
      <a:defRPr sz="2181" kern="1200">
        <a:solidFill>
          <a:schemeClr val="tx1"/>
        </a:solidFill>
        <a:latin typeface="+mn-lt"/>
        <a:ea typeface="+mn-ea"/>
        <a:cs typeface="+mn-cs"/>
      </a:defRPr>
    </a:lvl6pPr>
    <a:lvl7pPr marL="3324484" algn="l" defTabSz="1108161" rtl="0" eaLnBrk="1" latinLnBrk="0" hangingPunct="1">
      <a:defRPr sz="2181" kern="1200">
        <a:solidFill>
          <a:schemeClr val="tx1"/>
        </a:solidFill>
        <a:latin typeface="+mn-lt"/>
        <a:ea typeface="+mn-ea"/>
        <a:cs typeface="+mn-cs"/>
      </a:defRPr>
    </a:lvl7pPr>
    <a:lvl8pPr marL="3878565" algn="l" defTabSz="1108161" rtl="0" eaLnBrk="1" latinLnBrk="0" hangingPunct="1">
      <a:defRPr sz="2181" kern="1200">
        <a:solidFill>
          <a:schemeClr val="tx1"/>
        </a:solidFill>
        <a:latin typeface="+mn-lt"/>
        <a:ea typeface="+mn-ea"/>
        <a:cs typeface="+mn-cs"/>
      </a:defRPr>
    </a:lvl8pPr>
    <a:lvl9pPr marL="4432645" algn="l" defTabSz="1108161" rtl="0" eaLnBrk="1" latinLnBrk="0" hangingPunct="1">
      <a:defRPr sz="2181"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03E"/>
    <a:srgbClr val="005CE7"/>
    <a:srgbClr val="0064D2"/>
    <a:srgbClr val="0054B0"/>
    <a:srgbClr val="006FEA"/>
    <a:srgbClr val="0071EE"/>
    <a:srgbClr val="0150ED"/>
    <a:srgbClr val="0E5EFE"/>
    <a:srgbClr val="1E69FE"/>
    <a:srgbClr val="004F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98D4AA-0E14-EB43-9CA0-DC099737DEE1}" v="1868" dt="2023-11-28T17:42:32.7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86"/>
    <p:restoredTop sz="95015"/>
  </p:normalViewPr>
  <p:slideViewPr>
    <p:cSldViewPr snapToGrid="0">
      <p:cViewPr varScale="1">
        <p:scale>
          <a:sx n="107" d="100"/>
          <a:sy n="107" d="100"/>
        </p:scale>
        <p:origin x="168" y="184"/>
      </p:cViewPr>
      <p:guideLst>
        <p:guide orient="horz" pos="2161"/>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6/11/relationships/changesInfo" Target="changesInfos/changesInfo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u, Derchang" userId="b9148588-e694-4445-9765-2c9aad6149ce" providerId="ADAL" clId="{CE937C36-4DB6-F540-9C51-6D445BE19CC4}"/>
    <pc:docChg chg="modSld">
      <pc:chgData name="Kau, Derchang" userId="b9148588-e694-4445-9765-2c9aad6149ce" providerId="ADAL" clId="{CE937C36-4DB6-F540-9C51-6D445BE19CC4}" dt="2023-11-15T19:24:54.138" v="0"/>
      <pc:docMkLst>
        <pc:docMk/>
      </pc:docMkLst>
      <pc:sldChg chg="addSp">
        <pc:chgData name="Kau, Derchang" userId="b9148588-e694-4445-9765-2c9aad6149ce" providerId="ADAL" clId="{CE937C36-4DB6-F540-9C51-6D445BE19CC4}" dt="2023-11-15T19:24:54.138" v="0"/>
        <pc:sldMkLst>
          <pc:docMk/>
          <pc:sldMk cId="571199631" sldId="257"/>
        </pc:sldMkLst>
        <pc:inkChg chg="add">
          <ac:chgData name="Kau, Derchang" userId="b9148588-e694-4445-9765-2c9aad6149ce" providerId="ADAL" clId="{CE937C36-4DB6-F540-9C51-6D445BE19CC4}" dt="2023-11-15T19:24:54.138" v="0"/>
          <ac:inkMkLst>
            <pc:docMk/>
            <pc:sldMk cId="571199631" sldId="257"/>
            <ac:inkMk id="5" creationId="{2E0FBC33-B2CA-E705-2DC3-2C9409B9F7BC}"/>
          </ac:inkMkLst>
        </pc:inkChg>
      </pc:sldChg>
    </pc:docChg>
  </pc:docChgLst>
  <pc:docChgLst>
    <pc:chgData name="Kau, Derchang" userId="b9148588-e694-4445-9765-2c9aad6149ce" providerId="ADAL" clId="{F798D4AA-0E14-EB43-9CA0-DC099737DEE1}"/>
    <pc:docChg chg="undo redo custSel addSld delSld modSld sldOrd modMainMaster">
      <pc:chgData name="Kau, Derchang" userId="b9148588-e694-4445-9765-2c9aad6149ce" providerId="ADAL" clId="{F798D4AA-0E14-EB43-9CA0-DC099737DEE1}" dt="2023-11-28T17:44:22.361" v="9191" actId="20577"/>
      <pc:docMkLst>
        <pc:docMk/>
      </pc:docMkLst>
      <pc:sldChg chg="addSp delSp modSp mod modAnim">
        <pc:chgData name="Kau, Derchang" userId="b9148588-e694-4445-9765-2c9aad6149ce" providerId="ADAL" clId="{F798D4AA-0E14-EB43-9CA0-DC099737DEE1}" dt="2023-11-27T21:10:37.426" v="8420" actId="313"/>
        <pc:sldMkLst>
          <pc:docMk/>
          <pc:sldMk cId="571199631" sldId="257"/>
        </pc:sldMkLst>
        <pc:spChg chg="mod">
          <ac:chgData name="Kau, Derchang" userId="b9148588-e694-4445-9765-2c9aad6149ce" providerId="ADAL" clId="{F798D4AA-0E14-EB43-9CA0-DC099737DEE1}" dt="2023-11-20T19:34:09.909" v="3892" actId="20577"/>
          <ac:spMkLst>
            <pc:docMk/>
            <pc:sldMk cId="571199631" sldId="257"/>
            <ac:spMk id="2" creationId="{1880C7EB-82EA-2F44-9CE6-85D3359A96E6}"/>
          </ac:spMkLst>
        </pc:spChg>
        <pc:spChg chg="mod">
          <ac:chgData name="Kau, Derchang" userId="b9148588-e694-4445-9765-2c9aad6149ce" providerId="ADAL" clId="{F798D4AA-0E14-EB43-9CA0-DC099737DEE1}" dt="2023-11-27T21:10:37.426" v="8420" actId="313"/>
          <ac:spMkLst>
            <pc:docMk/>
            <pc:sldMk cId="571199631" sldId="257"/>
            <ac:spMk id="3" creationId="{4DEDCBA4-DD72-584F-A76E-6BB7A0CFAF7D}"/>
          </ac:spMkLst>
        </pc:spChg>
        <pc:spChg chg="mod">
          <ac:chgData name="Kau, Derchang" userId="b9148588-e694-4445-9765-2c9aad6149ce" providerId="ADAL" clId="{F798D4AA-0E14-EB43-9CA0-DC099737DEE1}" dt="2023-11-27T21:07:30.158" v="8403" actId="14100"/>
          <ac:spMkLst>
            <pc:docMk/>
            <pc:sldMk cId="571199631" sldId="257"/>
            <ac:spMk id="4" creationId="{BD877467-4947-834F-B23F-CD8D4BF05E06}"/>
          </ac:spMkLst>
        </pc:spChg>
        <pc:spChg chg="add del mod">
          <ac:chgData name="Kau, Derchang" userId="b9148588-e694-4445-9765-2c9aad6149ce" providerId="ADAL" clId="{F798D4AA-0E14-EB43-9CA0-DC099737DEE1}" dt="2023-11-19T19:04:11.229" v="3308"/>
          <ac:spMkLst>
            <pc:docMk/>
            <pc:sldMk cId="571199631" sldId="257"/>
            <ac:spMk id="8" creationId="{47CFC550-A3A1-4EA4-8CED-F9313BEFEB05}"/>
          </ac:spMkLst>
        </pc:spChg>
        <pc:spChg chg="add del mod">
          <ac:chgData name="Kau, Derchang" userId="b9148588-e694-4445-9765-2c9aad6149ce" providerId="ADAL" clId="{F798D4AA-0E14-EB43-9CA0-DC099737DEE1}" dt="2023-11-19T20:57:43.594" v="3357" actId="478"/>
          <ac:spMkLst>
            <pc:docMk/>
            <pc:sldMk cId="571199631" sldId="257"/>
            <ac:spMk id="12" creationId="{B7670337-91F1-056A-6ED9-8379D6CC4E5C}"/>
          </ac:spMkLst>
        </pc:spChg>
        <pc:grpChg chg="add del mod">
          <ac:chgData name="Kau, Derchang" userId="b9148588-e694-4445-9765-2c9aad6149ce" providerId="ADAL" clId="{F798D4AA-0E14-EB43-9CA0-DC099737DEE1}" dt="2023-11-19T20:57:40.513" v="3356" actId="478"/>
          <ac:grpSpMkLst>
            <pc:docMk/>
            <pc:sldMk cId="571199631" sldId="257"/>
            <ac:grpSpMk id="5" creationId="{D5480795-F3D0-4C53-C8BD-51035E53D87F}"/>
          </ac:grpSpMkLst>
        </pc:grpChg>
        <pc:grpChg chg="add del mod">
          <ac:chgData name="Kau, Derchang" userId="b9148588-e694-4445-9765-2c9aad6149ce" providerId="ADAL" clId="{F798D4AA-0E14-EB43-9CA0-DC099737DEE1}" dt="2023-11-19T19:00:40.885" v="3203"/>
          <ac:grpSpMkLst>
            <pc:docMk/>
            <pc:sldMk cId="571199631" sldId="257"/>
            <ac:grpSpMk id="9" creationId="{CA1A229D-FF71-C08D-5202-0035DAA2F8C1}"/>
          </ac:grpSpMkLst>
        </pc:grpChg>
        <pc:picChg chg="mod">
          <ac:chgData name="Kau, Derchang" userId="b9148588-e694-4445-9765-2c9aad6149ce" providerId="ADAL" clId="{F798D4AA-0E14-EB43-9CA0-DC099737DEE1}" dt="2023-11-19T19:00:31.757" v="3200" actId="1076"/>
          <ac:picMkLst>
            <pc:docMk/>
            <pc:sldMk cId="571199631" sldId="257"/>
            <ac:picMk id="6" creationId="{1B5A0CA2-CBCB-E9AB-70B6-4E10CF5A4E64}"/>
          </ac:picMkLst>
        </pc:picChg>
        <pc:picChg chg="mod">
          <ac:chgData name="Kau, Derchang" userId="b9148588-e694-4445-9765-2c9aad6149ce" providerId="ADAL" clId="{F798D4AA-0E14-EB43-9CA0-DC099737DEE1}" dt="2023-11-19T19:00:31.757" v="3200" actId="1076"/>
          <ac:picMkLst>
            <pc:docMk/>
            <pc:sldMk cId="571199631" sldId="257"/>
            <ac:picMk id="7" creationId="{6EC36FEF-35F5-88A9-5F2C-BFA8EE7DD10D}"/>
          </ac:picMkLst>
        </pc:picChg>
        <pc:picChg chg="mod">
          <ac:chgData name="Kau, Derchang" userId="b9148588-e694-4445-9765-2c9aad6149ce" providerId="ADAL" clId="{F798D4AA-0E14-EB43-9CA0-DC099737DEE1}" dt="2023-11-19T19:00:38.864" v="3202"/>
          <ac:picMkLst>
            <pc:docMk/>
            <pc:sldMk cId="571199631" sldId="257"/>
            <ac:picMk id="10" creationId="{9635A213-79D3-77F6-FBF8-FAD4E4F2AFD7}"/>
          </ac:picMkLst>
        </pc:picChg>
        <pc:picChg chg="mod">
          <ac:chgData name="Kau, Derchang" userId="b9148588-e694-4445-9765-2c9aad6149ce" providerId="ADAL" clId="{F798D4AA-0E14-EB43-9CA0-DC099737DEE1}" dt="2023-11-19T19:00:38.864" v="3202"/>
          <ac:picMkLst>
            <pc:docMk/>
            <pc:sldMk cId="571199631" sldId="257"/>
            <ac:picMk id="11" creationId="{B40F22A7-201C-F984-1089-B8163FA532F1}"/>
          </ac:picMkLst>
        </pc:picChg>
        <pc:inkChg chg="del mod">
          <ac:chgData name="Kau, Derchang" userId="b9148588-e694-4445-9765-2c9aad6149ce" providerId="ADAL" clId="{F798D4AA-0E14-EB43-9CA0-DC099737DEE1}" dt="2023-11-15T22:11:48.863" v="2300" actId="21"/>
          <ac:inkMkLst>
            <pc:docMk/>
            <pc:sldMk cId="571199631" sldId="257"/>
            <ac:inkMk id="5" creationId="{2E0FBC33-B2CA-E705-2DC3-2C9409B9F7BC}"/>
          </ac:inkMkLst>
        </pc:inkChg>
      </pc:sldChg>
      <pc:sldChg chg="addSp delSp modSp mod ord modAnim">
        <pc:chgData name="Kau, Derchang" userId="b9148588-e694-4445-9765-2c9aad6149ce" providerId="ADAL" clId="{F798D4AA-0E14-EB43-9CA0-DC099737DEE1}" dt="2023-11-27T20:20:05.018" v="8391" actId="20578"/>
        <pc:sldMkLst>
          <pc:docMk/>
          <pc:sldMk cId="3634505535" sldId="258"/>
        </pc:sldMkLst>
        <pc:spChg chg="add mod">
          <ac:chgData name="Kau, Derchang" userId="b9148588-e694-4445-9765-2c9aad6149ce" providerId="ADAL" clId="{F798D4AA-0E14-EB43-9CA0-DC099737DEE1}" dt="2023-11-21T05:46:14.499" v="5920" actId="1076"/>
          <ac:spMkLst>
            <pc:docMk/>
            <pc:sldMk cId="3634505535" sldId="258"/>
            <ac:spMk id="2" creationId="{18566C26-1EA2-033D-7152-76AD625D10C2}"/>
          </ac:spMkLst>
        </pc:spChg>
        <pc:spChg chg="add mod">
          <ac:chgData name="Kau, Derchang" userId="b9148588-e694-4445-9765-2c9aad6149ce" providerId="ADAL" clId="{F798D4AA-0E14-EB43-9CA0-DC099737DEE1}" dt="2023-11-21T05:46:39.853" v="5925" actId="1076"/>
          <ac:spMkLst>
            <pc:docMk/>
            <pc:sldMk cId="3634505535" sldId="258"/>
            <ac:spMk id="3" creationId="{7C2C6B12-6C9D-E1D1-2139-165C540A938E}"/>
          </ac:spMkLst>
        </pc:spChg>
        <pc:spChg chg="topLvl">
          <ac:chgData name="Kau, Derchang" userId="b9148588-e694-4445-9765-2c9aad6149ce" providerId="ADAL" clId="{F798D4AA-0E14-EB43-9CA0-DC099737DEE1}" dt="2023-11-21T05:49:42.149" v="5946" actId="165"/>
          <ac:spMkLst>
            <pc:docMk/>
            <pc:sldMk cId="3634505535" sldId="258"/>
            <ac:spMk id="5" creationId="{00352236-198F-7564-988E-CF5AD59A1A3D}"/>
          </ac:spMkLst>
        </pc:spChg>
        <pc:spChg chg="mod topLvl">
          <ac:chgData name="Kau, Derchang" userId="b9148588-e694-4445-9765-2c9aad6149ce" providerId="ADAL" clId="{F798D4AA-0E14-EB43-9CA0-DC099737DEE1}" dt="2023-11-21T05:49:42.149" v="5946" actId="165"/>
          <ac:spMkLst>
            <pc:docMk/>
            <pc:sldMk cId="3634505535" sldId="258"/>
            <ac:spMk id="6" creationId="{09D7E91F-CD4E-75BB-147A-8233DEB113CB}"/>
          </ac:spMkLst>
        </pc:spChg>
        <pc:spChg chg="topLvl">
          <ac:chgData name="Kau, Derchang" userId="b9148588-e694-4445-9765-2c9aad6149ce" providerId="ADAL" clId="{F798D4AA-0E14-EB43-9CA0-DC099737DEE1}" dt="2023-11-21T05:49:42.149" v="5946" actId="165"/>
          <ac:spMkLst>
            <pc:docMk/>
            <pc:sldMk cId="3634505535" sldId="258"/>
            <ac:spMk id="7" creationId="{E2A22453-0F07-F54E-A4AA-F341CFD704A6}"/>
          </ac:spMkLst>
        </pc:spChg>
        <pc:spChg chg="topLvl">
          <ac:chgData name="Kau, Derchang" userId="b9148588-e694-4445-9765-2c9aad6149ce" providerId="ADAL" clId="{F798D4AA-0E14-EB43-9CA0-DC099737DEE1}" dt="2023-11-21T05:49:42.149" v="5946" actId="165"/>
          <ac:spMkLst>
            <pc:docMk/>
            <pc:sldMk cId="3634505535" sldId="258"/>
            <ac:spMk id="8" creationId="{0BE4A764-4207-0242-7DFC-3AF5D04AB7D4}"/>
          </ac:spMkLst>
        </pc:spChg>
        <pc:spChg chg="topLvl">
          <ac:chgData name="Kau, Derchang" userId="b9148588-e694-4445-9765-2c9aad6149ce" providerId="ADAL" clId="{F798D4AA-0E14-EB43-9CA0-DC099737DEE1}" dt="2023-11-21T05:49:42.149" v="5946" actId="165"/>
          <ac:spMkLst>
            <pc:docMk/>
            <pc:sldMk cId="3634505535" sldId="258"/>
            <ac:spMk id="9" creationId="{D8A0A603-7279-5B7E-85C8-5BDA299E1A2B}"/>
          </ac:spMkLst>
        </pc:spChg>
        <pc:spChg chg="topLvl">
          <ac:chgData name="Kau, Derchang" userId="b9148588-e694-4445-9765-2c9aad6149ce" providerId="ADAL" clId="{F798D4AA-0E14-EB43-9CA0-DC099737DEE1}" dt="2023-11-21T05:49:42.149" v="5946" actId="165"/>
          <ac:spMkLst>
            <pc:docMk/>
            <pc:sldMk cId="3634505535" sldId="258"/>
            <ac:spMk id="10" creationId="{8EF1213A-9771-9DD5-5652-DB1EE377DAFC}"/>
          </ac:spMkLst>
        </pc:spChg>
        <pc:spChg chg="topLvl">
          <ac:chgData name="Kau, Derchang" userId="b9148588-e694-4445-9765-2c9aad6149ce" providerId="ADAL" clId="{F798D4AA-0E14-EB43-9CA0-DC099737DEE1}" dt="2023-11-21T05:49:42.149" v="5946" actId="165"/>
          <ac:spMkLst>
            <pc:docMk/>
            <pc:sldMk cId="3634505535" sldId="258"/>
            <ac:spMk id="11" creationId="{2E225A84-51B3-C9F7-035A-61483DF6309E}"/>
          </ac:spMkLst>
        </pc:spChg>
        <pc:spChg chg="add mod">
          <ac:chgData name="Kau, Derchang" userId="b9148588-e694-4445-9765-2c9aad6149ce" providerId="ADAL" clId="{F798D4AA-0E14-EB43-9CA0-DC099737DEE1}" dt="2023-11-21T10:43:29.757" v="7206" actId="20577"/>
          <ac:spMkLst>
            <pc:docMk/>
            <pc:sldMk cId="3634505535" sldId="258"/>
            <ac:spMk id="12" creationId="{F7086A73-3018-8ED5-5FF0-BFA94BE9E2F5}"/>
          </ac:spMkLst>
        </pc:spChg>
        <pc:spChg chg="add mod">
          <ac:chgData name="Kau, Derchang" userId="b9148588-e694-4445-9765-2c9aad6149ce" providerId="ADAL" clId="{F798D4AA-0E14-EB43-9CA0-DC099737DEE1}" dt="2023-11-21T05:55:49.826" v="5972" actId="20577"/>
          <ac:spMkLst>
            <pc:docMk/>
            <pc:sldMk cId="3634505535" sldId="258"/>
            <ac:spMk id="13" creationId="{C4D75B4B-8561-12C2-24AF-670EE23CFB45}"/>
          </ac:spMkLst>
        </pc:spChg>
        <pc:spChg chg="add mod">
          <ac:chgData name="Kau, Derchang" userId="b9148588-e694-4445-9765-2c9aad6149ce" providerId="ADAL" clId="{F798D4AA-0E14-EB43-9CA0-DC099737DEE1}" dt="2023-11-21T05:55:54.833" v="5974" actId="20577"/>
          <ac:spMkLst>
            <pc:docMk/>
            <pc:sldMk cId="3634505535" sldId="258"/>
            <ac:spMk id="14" creationId="{817943B2-7F01-90F3-9DCA-FBDFD0E97DCE}"/>
          </ac:spMkLst>
        </pc:spChg>
        <pc:spChg chg="add mod">
          <ac:chgData name="Kau, Derchang" userId="b9148588-e694-4445-9765-2c9aad6149ce" providerId="ADAL" clId="{F798D4AA-0E14-EB43-9CA0-DC099737DEE1}" dt="2023-11-21T10:42:42.067" v="7205" actId="14100"/>
          <ac:spMkLst>
            <pc:docMk/>
            <pc:sldMk cId="3634505535" sldId="258"/>
            <ac:spMk id="25" creationId="{87263E05-C298-192C-825E-7C2D4BFA70AA}"/>
          </ac:spMkLst>
        </pc:spChg>
        <pc:spChg chg="topLvl">
          <ac:chgData name="Kau, Derchang" userId="b9148588-e694-4445-9765-2c9aad6149ce" providerId="ADAL" clId="{F798D4AA-0E14-EB43-9CA0-DC099737DEE1}" dt="2023-11-21T05:49:42.149" v="5946" actId="165"/>
          <ac:spMkLst>
            <pc:docMk/>
            <pc:sldMk cId="3634505535" sldId="258"/>
            <ac:spMk id="58" creationId="{D91236CE-B0B9-5DFF-FBB2-FAEE7D8FC3E5}"/>
          </ac:spMkLst>
        </pc:spChg>
        <pc:spChg chg="topLvl">
          <ac:chgData name="Kau, Derchang" userId="b9148588-e694-4445-9765-2c9aad6149ce" providerId="ADAL" clId="{F798D4AA-0E14-EB43-9CA0-DC099737DEE1}" dt="2023-11-21T05:49:42.149" v="5946" actId="165"/>
          <ac:spMkLst>
            <pc:docMk/>
            <pc:sldMk cId="3634505535" sldId="258"/>
            <ac:spMk id="71" creationId="{BD4A62B8-162A-82FE-D0A7-80AA0341FAFF}"/>
          </ac:spMkLst>
        </pc:spChg>
        <pc:spChg chg="topLvl">
          <ac:chgData name="Kau, Derchang" userId="b9148588-e694-4445-9765-2c9aad6149ce" providerId="ADAL" clId="{F798D4AA-0E14-EB43-9CA0-DC099737DEE1}" dt="2023-11-21T05:49:42.149" v="5946" actId="165"/>
          <ac:spMkLst>
            <pc:docMk/>
            <pc:sldMk cId="3634505535" sldId="258"/>
            <ac:spMk id="72" creationId="{7954C9B6-36D1-0306-6EA8-58FCA19DFC56}"/>
          </ac:spMkLst>
        </pc:spChg>
        <pc:spChg chg="mod topLvl">
          <ac:chgData name="Kau, Derchang" userId="b9148588-e694-4445-9765-2c9aad6149ce" providerId="ADAL" clId="{F798D4AA-0E14-EB43-9CA0-DC099737DEE1}" dt="2023-11-21T05:53:06.954" v="5963" actId="165"/>
          <ac:spMkLst>
            <pc:docMk/>
            <pc:sldMk cId="3634505535" sldId="258"/>
            <ac:spMk id="73" creationId="{9DDE30E6-938C-5B95-730C-3F6F624D61A1}"/>
          </ac:spMkLst>
        </pc:spChg>
        <pc:spChg chg="topLvl">
          <ac:chgData name="Kau, Derchang" userId="b9148588-e694-4445-9765-2c9aad6149ce" providerId="ADAL" clId="{F798D4AA-0E14-EB43-9CA0-DC099737DEE1}" dt="2023-11-21T05:49:42.149" v="5946" actId="165"/>
          <ac:spMkLst>
            <pc:docMk/>
            <pc:sldMk cId="3634505535" sldId="258"/>
            <ac:spMk id="74" creationId="{C185AFD9-977C-1D15-6E5D-3A18A0F1EFA2}"/>
          </ac:spMkLst>
        </pc:spChg>
        <pc:spChg chg="topLvl">
          <ac:chgData name="Kau, Derchang" userId="b9148588-e694-4445-9765-2c9aad6149ce" providerId="ADAL" clId="{F798D4AA-0E14-EB43-9CA0-DC099737DEE1}" dt="2023-11-21T05:49:42.149" v="5946" actId="165"/>
          <ac:spMkLst>
            <pc:docMk/>
            <pc:sldMk cId="3634505535" sldId="258"/>
            <ac:spMk id="75" creationId="{7C5473BD-ACF7-3601-F453-6B6D980FEEFC}"/>
          </ac:spMkLst>
        </pc:spChg>
        <pc:spChg chg="topLvl">
          <ac:chgData name="Kau, Derchang" userId="b9148588-e694-4445-9765-2c9aad6149ce" providerId="ADAL" clId="{F798D4AA-0E14-EB43-9CA0-DC099737DEE1}" dt="2023-11-21T05:49:42.149" v="5946" actId="165"/>
          <ac:spMkLst>
            <pc:docMk/>
            <pc:sldMk cId="3634505535" sldId="258"/>
            <ac:spMk id="76" creationId="{B2A2E007-B1F0-00BC-2870-FB1BE78D89A0}"/>
          </ac:spMkLst>
        </pc:spChg>
        <pc:spChg chg="topLvl">
          <ac:chgData name="Kau, Derchang" userId="b9148588-e694-4445-9765-2c9aad6149ce" providerId="ADAL" clId="{F798D4AA-0E14-EB43-9CA0-DC099737DEE1}" dt="2023-11-21T05:49:42.149" v="5946" actId="165"/>
          <ac:spMkLst>
            <pc:docMk/>
            <pc:sldMk cId="3634505535" sldId="258"/>
            <ac:spMk id="87" creationId="{28952DB8-44E9-EFCB-DFF7-1B4F3E265764}"/>
          </ac:spMkLst>
        </pc:spChg>
        <pc:spChg chg="mod">
          <ac:chgData name="Kau, Derchang" userId="b9148588-e694-4445-9765-2c9aad6149ce" providerId="ADAL" clId="{F798D4AA-0E14-EB43-9CA0-DC099737DEE1}" dt="2023-11-21T05:37:08.574" v="5916" actId="14100"/>
          <ac:spMkLst>
            <pc:docMk/>
            <pc:sldMk cId="3634505535" sldId="258"/>
            <ac:spMk id="135" creationId="{C15C606D-A693-FB8A-2466-CF3BCFE8F859}"/>
          </ac:spMkLst>
        </pc:spChg>
        <pc:spChg chg="mod topLvl">
          <ac:chgData name="Kau, Derchang" userId="b9148588-e694-4445-9765-2c9aad6149ce" providerId="ADAL" clId="{F798D4AA-0E14-EB43-9CA0-DC099737DEE1}" dt="2023-11-21T05:53:06.954" v="5963" actId="165"/>
          <ac:spMkLst>
            <pc:docMk/>
            <pc:sldMk cId="3634505535" sldId="258"/>
            <ac:spMk id="136" creationId="{20295349-1A30-1249-0628-9AB4C0128A35}"/>
          </ac:spMkLst>
        </pc:spChg>
        <pc:grpChg chg="add del">
          <ac:chgData name="Kau, Derchang" userId="b9148588-e694-4445-9765-2c9aad6149ce" providerId="ADAL" clId="{F798D4AA-0E14-EB43-9CA0-DC099737DEE1}" dt="2023-11-21T05:49:42.149" v="5946" actId="165"/>
          <ac:grpSpMkLst>
            <pc:docMk/>
            <pc:sldMk cId="3634505535" sldId="258"/>
            <ac:grpSpMk id="15" creationId="{5AAEE60F-A5E2-C847-BFD3-6E04786527F0}"/>
          </ac:grpSpMkLst>
        </pc:grpChg>
        <pc:grpChg chg="add del mod">
          <ac:chgData name="Kau, Derchang" userId="b9148588-e694-4445-9765-2c9aad6149ce" providerId="ADAL" clId="{F798D4AA-0E14-EB43-9CA0-DC099737DEE1}" dt="2023-11-21T05:53:06.954" v="5963" actId="165"/>
          <ac:grpSpMkLst>
            <pc:docMk/>
            <pc:sldMk cId="3634505535" sldId="258"/>
            <ac:grpSpMk id="17" creationId="{1C55A904-E830-E5E2-6881-615F074A6FC8}"/>
          </ac:grpSpMkLst>
        </pc:grpChg>
        <pc:grpChg chg="add mod">
          <ac:chgData name="Kau, Derchang" userId="b9148588-e694-4445-9765-2c9aad6149ce" providerId="ADAL" clId="{F798D4AA-0E14-EB43-9CA0-DC099737DEE1}" dt="2023-11-21T05:51:45.437" v="5958" actId="167"/>
          <ac:grpSpMkLst>
            <pc:docMk/>
            <pc:sldMk cId="3634505535" sldId="258"/>
            <ac:grpSpMk id="18" creationId="{CDD9A8F2-DEBC-CB07-3C30-1603291CC569}"/>
          </ac:grpSpMkLst>
        </pc:grpChg>
        <pc:grpChg chg="add">
          <ac:chgData name="Kau, Derchang" userId="b9148588-e694-4445-9765-2c9aad6149ce" providerId="ADAL" clId="{F798D4AA-0E14-EB43-9CA0-DC099737DEE1}" dt="2023-11-21T05:52:03.798" v="5959" actId="164"/>
          <ac:grpSpMkLst>
            <pc:docMk/>
            <pc:sldMk cId="3634505535" sldId="258"/>
            <ac:grpSpMk id="19" creationId="{DF801A91-401F-EF5F-F829-C2B5BDD174A0}"/>
          </ac:grpSpMkLst>
        </pc:grpChg>
        <pc:grpChg chg="add">
          <ac:chgData name="Kau, Derchang" userId="b9148588-e694-4445-9765-2c9aad6149ce" providerId="ADAL" clId="{F798D4AA-0E14-EB43-9CA0-DC099737DEE1}" dt="2023-11-21T05:52:16.165" v="5960" actId="164"/>
          <ac:grpSpMkLst>
            <pc:docMk/>
            <pc:sldMk cId="3634505535" sldId="258"/>
            <ac:grpSpMk id="20" creationId="{2B21C4C9-655D-CC8E-438D-EB256BCE19E2}"/>
          </ac:grpSpMkLst>
        </pc:grpChg>
        <pc:grpChg chg="add">
          <ac:chgData name="Kau, Derchang" userId="b9148588-e694-4445-9765-2c9aad6149ce" providerId="ADAL" clId="{F798D4AA-0E14-EB43-9CA0-DC099737DEE1}" dt="2023-11-21T05:52:25.498" v="5961" actId="164"/>
          <ac:grpSpMkLst>
            <pc:docMk/>
            <pc:sldMk cId="3634505535" sldId="258"/>
            <ac:grpSpMk id="22" creationId="{FA774D33-5BC0-A476-36CC-3BC6BF93CF37}"/>
          </ac:grpSpMkLst>
        </pc:grpChg>
        <pc:grpChg chg="add">
          <ac:chgData name="Kau, Derchang" userId="b9148588-e694-4445-9765-2c9aad6149ce" providerId="ADAL" clId="{F798D4AA-0E14-EB43-9CA0-DC099737DEE1}" dt="2023-11-21T05:52:32.757" v="5962" actId="164"/>
          <ac:grpSpMkLst>
            <pc:docMk/>
            <pc:sldMk cId="3634505535" sldId="258"/>
            <ac:grpSpMk id="23" creationId="{033B14C1-F50A-7BC2-6FC3-FE42292C5AE9}"/>
          </ac:grpSpMkLst>
        </pc:grpChg>
        <pc:grpChg chg="add">
          <ac:chgData name="Kau, Derchang" userId="b9148588-e694-4445-9765-2c9aad6149ce" providerId="ADAL" clId="{F798D4AA-0E14-EB43-9CA0-DC099737DEE1}" dt="2023-11-21T05:54:09.805" v="5964" actId="164"/>
          <ac:grpSpMkLst>
            <pc:docMk/>
            <pc:sldMk cId="3634505535" sldId="258"/>
            <ac:grpSpMk id="24" creationId="{0A7FBBF9-BD4A-61EE-71DF-813FB8CA4C4F}"/>
          </ac:grpSpMkLst>
        </pc:grpChg>
        <pc:grpChg chg="del">
          <ac:chgData name="Kau, Derchang" userId="b9148588-e694-4445-9765-2c9aad6149ce" providerId="ADAL" clId="{F798D4AA-0E14-EB43-9CA0-DC099737DEE1}" dt="2023-11-21T05:35:22.493" v="5905" actId="165"/>
          <ac:grpSpMkLst>
            <pc:docMk/>
            <pc:sldMk cId="3634505535" sldId="258"/>
            <ac:grpSpMk id="126" creationId="{DDBFF663-C395-D330-5C85-711DCA777E07}"/>
          </ac:grpSpMkLst>
        </pc:grpChg>
        <pc:cxnChg chg="topLvl">
          <ac:chgData name="Kau, Derchang" userId="b9148588-e694-4445-9765-2c9aad6149ce" providerId="ADAL" clId="{F798D4AA-0E14-EB43-9CA0-DC099737DEE1}" dt="2023-11-21T05:49:42.149" v="5946" actId="165"/>
          <ac:cxnSpMkLst>
            <pc:docMk/>
            <pc:sldMk cId="3634505535" sldId="258"/>
            <ac:cxnSpMk id="16" creationId="{D4142A35-0BF7-4B4C-16FB-59785B55120D}"/>
          </ac:cxnSpMkLst>
        </pc:cxnChg>
        <pc:cxnChg chg="topLvl">
          <ac:chgData name="Kau, Derchang" userId="b9148588-e694-4445-9765-2c9aad6149ce" providerId="ADAL" clId="{F798D4AA-0E14-EB43-9CA0-DC099737DEE1}" dt="2023-11-21T05:49:42.149" v="5946" actId="165"/>
          <ac:cxnSpMkLst>
            <pc:docMk/>
            <pc:sldMk cId="3634505535" sldId="258"/>
            <ac:cxnSpMk id="21" creationId="{D8B066A9-146F-6718-E939-73F618B3CC14}"/>
          </ac:cxnSpMkLst>
        </pc:cxnChg>
        <pc:cxnChg chg="mod topLvl">
          <ac:chgData name="Kau, Derchang" userId="b9148588-e694-4445-9765-2c9aad6149ce" providerId="ADAL" clId="{F798D4AA-0E14-EB43-9CA0-DC099737DEE1}" dt="2023-11-21T05:53:06.954" v="5963" actId="165"/>
          <ac:cxnSpMkLst>
            <pc:docMk/>
            <pc:sldMk cId="3634505535" sldId="258"/>
            <ac:cxnSpMk id="27" creationId="{824CCD94-72BC-1276-9D84-F6DAA069FDC2}"/>
          </ac:cxnSpMkLst>
        </pc:cxnChg>
        <pc:cxnChg chg="mod topLvl">
          <ac:chgData name="Kau, Derchang" userId="b9148588-e694-4445-9765-2c9aad6149ce" providerId="ADAL" clId="{F798D4AA-0E14-EB43-9CA0-DC099737DEE1}" dt="2023-11-21T05:53:06.954" v="5963" actId="165"/>
          <ac:cxnSpMkLst>
            <pc:docMk/>
            <pc:sldMk cId="3634505535" sldId="258"/>
            <ac:cxnSpMk id="30" creationId="{84873547-B864-770A-9D39-87F922AFEFFB}"/>
          </ac:cxnSpMkLst>
        </pc:cxnChg>
        <pc:cxnChg chg="topLvl">
          <ac:chgData name="Kau, Derchang" userId="b9148588-e694-4445-9765-2c9aad6149ce" providerId="ADAL" clId="{F798D4AA-0E14-EB43-9CA0-DC099737DEE1}" dt="2023-11-21T05:49:42.149" v="5946" actId="165"/>
          <ac:cxnSpMkLst>
            <pc:docMk/>
            <pc:sldMk cId="3634505535" sldId="258"/>
            <ac:cxnSpMk id="51" creationId="{439E1FC5-4FA2-9668-8075-ABFB9CA852EA}"/>
          </ac:cxnSpMkLst>
        </pc:cxnChg>
        <pc:cxnChg chg="topLvl">
          <ac:chgData name="Kau, Derchang" userId="b9148588-e694-4445-9765-2c9aad6149ce" providerId="ADAL" clId="{F798D4AA-0E14-EB43-9CA0-DC099737DEE1}" dt="2023-11-21T05:49:42.149" v="5946" actId="165"/>
          <ac:cxnSpMkLst>
            <pc:docMk/>
            <pc:sldMk cId="3634505535" sldId="258"/>
            <ac:cxnSpMk id="53" creationId="{7F356832-EB2E-08E7-AE52-AB5824E30A16}"/>
          </ac:cxnSpMkLst>
        </pc:cxnChg>
        <pc:cxnChg chg="topLvl">
          <ac:chgData name="Kau, Derchang" userId="b9148588-e694-4445-9765-2c9aad6149ce" providerId="ADAL" clId="{F798D4AA-0E14-EB43-9CA0-DC099737DEE1}" dt="2023-11-21T05:49:42.149" v="5946" actId="165"/>
          <ac:cxnSpMkLst>
            <pc:docMk/>
            <pc:sldMk cId="3634505535" sldId="258"/>
            <ac:cxnSpMk id="56" creationId="{2AC17D8A-12F4-1848-8685-F7685375DE6D}"/>
          </ac:cxnSpMkLst>
        </pc:cxnChg>
        <pc:cxnChg chg="topLvl">
          <ac:chgData name="Kau, Derchang" userId="b9148588-e694-4445-9765-2c9aad6149ce" providerId="ADAL" clId="{F798D4AA-0E14-EB43-9CA0-DC099737DEE1}" dt="2023-11-21T05:49:42.149" v="5946" actId="165"/>
          <ac:cxnSpMkLst>
            <pc:docMk/>
            <pc:sldMk cId="3634505535" sldId="258"/>
            <ac:cxnSpMk id="57" creationId="{13B940B8-5616-CF8F-41F9-3748F7722062}"/>
          </ac:cxnSpMkLst>
        </pc:cxnChg>
        <pc:cxnChg chg="topLvl">
          <ac:chgData name="Kau, Derchang" userId="b9148588-e694-4445-9765-2c9aad6149ce" providerId="ADAL" clId="{F798D4AA-0E14-EB43-9CA0-DC099737DEE1}" dt="2023-11-21T05:49:42.149" v="5946" actId="165"/>
          <ac:cxnSpMkLst>
            <pc:docMk/>
            <pc:sldMk cId="3634505535" sldId="258"/>
            <ac:cxnSpMk id="59" creationId="{3CBAEF8F-6AC0-F54B-6868-E225FBCFC064}"/>
          </ac:cxnSpMkLst>
        </pc:cxnChg>
        <pc:cxnChg chg="mod topLvl">
          <ac:chgData name="Kau, Derchang" userId="b9148588-e694-4445-9765-2c9aad6149ce" providerId="ADAL" clId="{F798D4AA-0E14-EB43-9CA0-DC099737DEE1}" dt="2023-11-21T05:53:06.954" v="5963" actId="165"/>
          <ac:cxnSpMkLst>
            <pc:docMk/>
            <pc:sldMk cId="3634505535" sldId="258"/>
            <ac:cxnSpMk id="64" creationId="{0EB9CF64-FCFC-8CDA-3AF1-F72D7AD1CA71}"/>
          </ac:cxnSpMkLst>
        </pc:cxnChg>
        <pc:cxnChg chg="topLvl">
          <ac:chgData name="Kau, Derchang" userId="b9148588-e694-4445-9765-2c9aad6149ce" providerId="ADAL" clId="{F798D4AA-0E14-EB43-9CA0-DC099737DEE1}" dt="2023-11-21T05:49:42.149" v="5946" actId="165"/>
          <ac:cxnSpMkLst>
            <pc:docMk/>
            <pc:sldMk cId="3634505535" sldId="258"/>
            <ac:cxnSpMk id="77" creationId="{3381DA7E-1345-94F6-899B-E433ED7E7787}"/>
          </ac:cxnSpMkLst>
        </pc:cxnChg>
        <pc:cxnChg chg="mod topLvl">
          <ac:chgData name="Kau, Derchang" userId="b9148588-e694-4445-9765-2c9aad6149ce" providerId="ADAL" clId="{F798D4AA-0E14-EB43-9CA0-DC099737DEE1}" dt="2023-11-21T05:53:06.954" v="5963" actId="165"/>
          <ac:cxnSpMkLst>
            <pc:docMk/>
            <pc:sldMk cId="3634505535" sldId="258"/>
            <ac:cxnSpMk id="97" creationId="{8F1B3CAF-B6D1-E060-ED55-80D5E599AAE7}"/>
          </ac:cxnSpMkLst>
        </pc:cxnChg>
      </pc:sldChg>
      <pc:sldChg chg="addSp delSp modSp mod ord">
        <pc:chgData name="Kau, Derchang" userId="b9148588-e694-4445-9765-2c9aad6149ce" providerId="ADAL" clId="{F798D4AA-0E14-EB43-9CA0-DC099737DEE1}" dt="2023-11-27T20:20:05.018" v="8391" actId="20578"/>
        <pc:sldMkLst>
          <pc:docMk/>
          <pc:sldMk cId="2907938795" sldId="259"/>
        </pc:sldMkLst>
        <pc:spChg chg="mod">
          <ac:chgData name="Kau, Derchang" userId="b9148588-e694-4445-9765-2c9aad6149ce" providerId="ADAL" clId="{F798D4AA-0E14-EB43-9CA0-DC099737DEE1}" dt="2023-11-21T10:52:09.839" v="7258" actId="20577"/>
          <ac:spMkLst>
            <pc:docMk/>
            <pc:sldMk cId="2907938795" sldId="259"/>
            <ac:spMk id="2" creationId="{660137D4-61AD-7F69-DB31-CF389439F912}"/>
          </ac:spMkLst>
        </pc:spChg>
        <pc:spChg chg="mod">
          <ac:chgData name="Kau, Derchang" userId="b9148588-e694-4445-9765-2c9aad6149ce" providerId="ADAL" clId="{F798D4AA-0E14-EB43-9CA0-DC099737DEE1}" dt="2023-11-22T03:40:52.113" v="7422" actId="20577"/>
          <ac:spMkLst>
            <pc:docMk/>
            <pc:sldMk cId="2907938795" sldId="259"/>
            <ac:spMk id="3" creationId="{889A346F-D88D-9C68-2D85-17719C3924FA}"/>
          </ac:spMkLst>
        </pc:spChg>
        <pc:spChg chg="add mod">
          <ac:chgData name="Kau, Derchang" userId="b9148588-e694-4445-9765-2c9aad6149ce" providerId="ADAL" clId="{F798D4AA-0E14-EB43-9CA0-DC099737DEE1}" dt="2023-11-14T22:12:59.341" v="923" actId="1076"/>
          <ac:spMkLst>
            <pc:docMk/>
            <pc:sldMk cId="2907938795" sldId="259"/>
            <ac:spMk id="4" creationId="{B89BF2EE-CCA4-7061-E40F-C3456AE8C475}"/>
          </ac:spMkLst>
        </pc:spChg>
        <pc:graphicFrameChg chg="mod modGraphic">
          <ac:chgData name="Kau, Derchang" userId="b9148588-e694-4445-9765-2c9aad6149ce" providerId="ADAL" clId="{F798D4AA-0E14-EB43-9CA0-DC099737DEE1}" dt="2023-11-22T09:13:21.960" v="8208" actId="20577"/>
          <ac:graphicFrameMkLst>
            <pc:docMk/>
            <pc:sldMk cId="2907938795" sldId="259"/>
            <ac:graphicFrameMk id="9" creationId="{5093158D-8141-458F-1723-42082F7F537C}"/>
          </ac:graphicFrameMkLst>
        </pc:graphicFrameChg>
        <pc:picChg chg="add del mod">
          <ac:chgData name="Kau, Derchang" userId="b9148588-e694-4445-9765-2c9aad6149ce" providerId="ADAL" clId="{F798D4AA-0E14-EB43-9CA0-DC099737DEE1}" dt="2023-11-21T10:50:51.487" v="7246"/>
          <ac:picMkLst>
            <pc:docMk/>
            <pc:sldMk cId="2907938795" sldId="259"/>
            <ac:picMk id="5" creationId="{D7450C72-604E-4F89-87AA-9644F82C6739}"/>
          </ac:picMkLst>
        </pc:picChg>
        <pc:picChg chg="del mod">
          <ac:chgData name="Kau, Derchang" userId="b9148588-e694-4445-9765-2c9aad6149ce" providerId="ADAL" clId="{F798D4AA-0E14-EB43-9CA0-DC099737DEE1}" dt="2023-11-21T10:51:16.645" v="7249" actId="478"/>
          <ac:picMkLst>
            <pc:docMk/>
            <pc:sldMk cId="2907938795" sldId="259"/>
            <ac:picMk id="6" creationId="{F79B3C43-8D45-C90E-6EA3-A2590EA2538C}"/>
          </ac:picMkLst>
        </pc:picChg>
        <pc:picChg chg="mod">
          <ac:chgData name="Kau, Derchang" userId="b9148588-e694-4445-9765-2c9aad6149ce" providerId="ADAL" clId="{F798D4AA-0E14-EB43-9CA0-DC099737DEE1}" dt="2023-11-22T03:40:30.753" v="7402" actId="1076"/>
          <ac:picMkLst>
            <pc:docMk/>
            <pc:sldMk cId="2907938795" sldId="259"/>
            <ac:picMk id="7" creationId="{137F2ED4-9535-D5BB-BC1D-AB4BEA317690}"/>
          </ac:picMkLst>
        </pc:picChg>
        <pc:picChg chg="add mod">
          <ac:chgData name="Kau, Derchang" userId="b9148588-e694-4445-9765-2c9aad6149ce" providerId="ADAL" clId="{F798D4AA-0E14-EB43-9CA0-DC099737DEE1}" dt="2023-11-22T03:40:30.753" v="7402" actId="1076"/>
          <ac:picMkLst>
            <pc:docMk/>
            <pc:sldMk cId="2907938795" sldId="259"/>
            <ac:picMk id="8" creationId="{5D41A17E-F0F7-6066-0313-19E25FEBD372}"/>
          </ac:picMkLst>
        </pc:picChg>
      </pc:sldChg>
      <pc:sldChg chg="addSp delSp modSp new del mod">
        <pc:chgData name="Kau, Derchang" userId="b9148588-e694-4445-9765-2c9aad6149ce" providerId="ADAL" clId="{F798D4AA-0E14-EB43-9CA0-DC099737DEE1}" dt="2023-11-14T22:14:47.050" v="924" actId="2696"/>
        <pc:sldMkLst>
          <pc:docMk/>
          <pc:sldMk cId="1542058657" sldId="260"/>
        </pc:sldMkLst>
        <pc:spChg chg="mod">
          <ac:chgData name="Kau, Derchang" userId="b9148588-e694-4445-9765-2c9aad6149ce" providerId="ADAL" clId="{F798D4AA-0E14-EB43-9CA0-DC099737DEE1}" dt="2023-11-10T23:14:36.833" v="207" actId="20577"/>
          <ac:spMkLst>
            <pc:docMk/>
            <pc:sldMk cId="1542058657" sldId="260"/>
            <ac:spMk id="2" creationId="{1F203D08-ED64-31ED-9623-76F7F720EBDE}"/>
          </ac:spMkLst>
        </pc:spChg>
        <pc:spChg chg="mod">
          <ac:chgData name="Kau, Derchang" userId="b9148588-e694-4445-9765-2c9aad6149ce" providerId="ADAL" clId="{F798D4AA-0E14-EB43-9CA0-DC099737DEE1}" dt="2023-11-10T23:15:13.417" v="232" actId="20577"/>
          <ac:spMkLst>
            <pc:docMk/>
            <pc:sldMk cId="1542058657" sldId="260"/>
            <ac:spMk id="3" creationId="{10C6AEAD-173B-445A-D0A8-5094B950A94C}"/>
          </ac:spMkLst>
        </pc:spChg>
        <pc:picChg chg="add del mod">
          <ac:chgData name="Kau, Derchang" userId="b9148588-e694-4445-9765-2c9aad6149ce" providerId="ADAL" clId="{F798D4AA-0E14-EB43-9CA0-DC099737DEE1}" dt="2023-11-13T22:21:56.473" v="309"/>
          <ac:picMkLst>
            <pc:docMk/>
            <pc:sldMk cId="1542058657" sldId="260"/>
            <ac:picMk id="5" creationId="{4D859BC3-441F-6AD6-7560-4FA0F73842E8}"/>
          </ac:picMkLst>
        </pc:picChg>
      </pc:sldChg>
      <pc:sldChg chg="addSp delSp modSp new del mod">
        <pc:chgData name="Kau, Derchang" userId="b9148588-e694-4445-9765-2c9aad6149ce" providerId="ADAL" clId="{F798D4AA-0E14-EB43-9CA0-DC099737DEE1}" dt="2023-11-14T22:15:04.766" v="925" actId="2696"/>
        <pc:sldMkLst>
          <pc:docMk/>
          <pc:sldMk cId="3507052924" sldId="261"/>
        </pc:sldMkLst>
        <pc:spChg chg="del">
          <ac:chgData name="Kau, Derchang" userId="b9148588-e694-4445-9765-2c9aad6149ce" providerId="ADAL" clId="{F798D4AA-0E14-EB43-9CA0-DC099737DEE1}" dt="2023-11-13T22:24:36.806" v="311"/>
          <ac:spMkLst>
            <pc:docMk/>
            <pc:sldMk cId="3507052924" sldId="261"/>
            <ac:spMk id="3" creationId="{FAF84D84-2503-AD60-CB9E-C52D3E280A34}"/>
          </ac:spMkLst>
        </pc:spChg>
        <pc:picChg chg="add mod">
          <ac:chgData name="Kau, Derchang" userId="b9148588-e694-4445-9765-2c9aad6149ce" providerId="ADAL" clId="{F798D4AA-0E14-EB43-9CA0-DC099737DEE1}" dt="2023-11-13T22:24:46.673" v="313" actId="1076"/>
          <ac:picMkLst>
            <pc:docMk/>
            <pc:sldMk cId="3507052924" sldId="261"/>
            <ac:picMk id="5" creationId="{418EEC68-AC22-B9E6-5D77-74FA181BE11D}"/>
          </ac:picMkLst>
        </pc:picChg>
      </pc:sldChg>
      <pc:sldChg chg="addSp delSp modSp add mod ord modClrScheme chgLayout">
        <pc:chgData name="Kau, Derchang" userId="b9148588-e694-4445-9765-2c9aad6149ce" providerId="ADAL" clId="{F798D4AA-0E14-EB43-9CA0-DC099737DEE1}" dt="2023-11-28T17:43:36.474" v="9179" actId="20578"/>
        <pc:sldMkLst>
          <pc:docMk/>
          <pc:sldMk cId="1638776899" sldId="276"/>
        </pc:sldMkLst>
        <pc:spChg chg="add del mod">
          <ac:chgData name="Kau, Derchang" userId="b9148588-e694-4445-9765-2c9aad6149ce" providerId="ADAL" clId="{F798D4AA-0E14-EB43-9CA0-DC099737DEE1}" dt="2023-11-21T06:54:12.349" v="7110" actId="478"/>
          <ac:spMkLst>
            <pc:docMk/>
            <pc:sldMk cId="1638776899" sldId="276"/>
            <ac:spMk id="2" creationId="{00DFF948-7AAF-C6A3-1B68-C4AE9F6FF559}"/>
          </ac:spMkLst>
        </pc:spChg>
        <pc:spChg chg="del">
          <ac:chgData name="Kau, Derchang" userId="b9148588-e694-4445-9765-2c9aad6149ce" providerId="ADAL" clId="{F798D4AA-0E14-EB43-9CA0-DC099737DEE1}" dt="2023-11-21T06:54:23.021" v="7111" actId="478"/>
          <ac:spMkLst>
            <pc:docMk/>
            <pc:sldMk cId="1638776899" sldId="276"/>
            <ac:spMk id="3" creationId="{F91FAED6-1B4C-DB63-D03F-1E18F069CC17}"/>
          </ac:spMkLst>
        </pc:spChg>
        <pc:spChg chg="mod ord">
          <ac:chgData name="Kau, Derchang" userId="b9148588-e694-4445-9765-2c9aad6149ce" providerId="ADAL" clId="{F798D4AA-0E14-EB43-9CA0-DC099737DEE1}" dt="2023-11-22T03:58:16.003" v="7682" actId="403"/>
          <ac:spMkLst>
            <pc:docMk/>
            <pc:sldMk cId="1638776899" sldId="276"/>
            <ac:spMk id="5" creationId="{DC325671-343F-50B9-7614-C886077ABDA4}"/>
          </ac:spMkLst>
        </pc:spChg>
        <pc:spChg chg="mod ord">
          <ac:chgData name="Kau, Derchang" userId="b9148588-e694-4445-9765-2c9aad6149ce" providerId="ADAL" clId="{F798D4AA-0E14-EB43-9CA0-DC099737DEE1}" dt="2023-11-22T04:00:37.600" v="7836" actId="20577"/>
          <ac:spMkLst>
            <pc:docMk/>
            <pc:sldMk cId="1638776899" sldId="276"/>
            <ac:spMk id="6" creationId="{7C1360A8-8A5C-20E2-5134-C2F65557A168}"/>
          </ac:spMkLst>
        </pc:spChg>
        <pc:spChg chg="del">
          <ac:chgData name="Kau, Derchang" userId="b9148588-e694-4445-9765-2c9aad6149ce" providerId="ADAL" clId="{F798D4AA-0E14-EB43-9CA0-DC099737DEE1}" dt="2023-11-21T06:51:56.414" v="7102" actId="478"/>
          <ac:spMkLst>
            <pc:docMk/>
            <pc:sldMk cId="1638776899" sldId="276"/>
            <ac:spMk id="7" creationId="{40AF73DD-37FA-D963-D9B7-1E07596ED6C5}"/>
          </ac:spMkLst>
        </pc:spChg>
      </pc:sldChg>
      <pc:sldChg chg="addSp delSp modSp add mod">
        <pc:chgData name="Kau, Derchang" userId="b9148588-e694-4445-9765-2c9aad6149ce" providerId="ADAL" clId="{F798D4AA-0E14-EB43-9CA0-DC099737DEE1}" dt="2023-11-27T22:42:34.836" v="8791" actId="1076"/>
        <pc:sldMkLst>
          <pc:docMk/>
          <pc:sldMk cId="2634185704" sldId="308"/>
        </pc:sldMkLst>
        <pc:spChg chg="mod">
          <ac:chgData name="Kau, Derchang" userId="b9148588-e694-4445-9765-2c9aad6149ce" providerId="ADAL" clId="{F798D4AA-0E14-EB43-9CA0-DC099737DEE1}" dt="2023-11-27T22:41:49.090" v="8785" actId="1076"/>
          <ac:spMkLst>
            <pc:docMk/>
            <pc:sldMk cId="2634185704" sldId="308"/>
            <ac:spMk id="2" creationId="{CFA7E135-6A76-0245-A9CC-855A7AD16C79}"/>
          </ac:spMkLst>
        </pc:spChg>
        <pc:spChg chg="mod">
          <ac:chgData name="Kau, Derchang" userId="b9148588-e694-4445-9765-2c9aad6149ce" providerId="ADAL" clId="{F798D4AA-0E14-EB43-9CA0-DC099737DEE1}" dt="2023-11-27T22:42:11.170" v="8787" actId="20577"/>
          <ac:spMkLst>
            <pc:docMk/>
            <pc:sldMk cId="2634185704" sldId="308"/>
            <ac:spMk id="3" creationId="{BD8F1A2F-B85B-5D4E-880E-DADAF725A3C6}"/>
          </ac:spMkLst>
        </pc:spChg>
        <pc:spChg chg="del mod">
          <ac:chgData name="Kau, Derchang" userId="b9148588-e694-4445-9765-2c9aad6149ce" providerId="ADAL" clId="{F798D4AA-0E14-EB43-9CA0-DC099737DEE1}" dt="2023-11-27T22:41:34.941" v="8784" actId="478"/>
          <ac:spMkLst>
            <pc:docMk/>
            <pc:sldMk cId="2634185704" sldId="308"/>
            <ac:spMk id="4" creationId="{651D9297-A883-5349-8E0F-3A8FEE2FD422}"/>
          </ac:spMkLst>
        </pc:spChg>
        <pc:spChg chg="del mod">
          <ac:chgData name="Kau, Derchang" userId="b9148588-e694-4445-9765-2c9aad6149ce" providerId="ADAL" clId="{F798D4AA-0E14-EB43-9CA0-DC099737DEE1}" dt="2023-11-27T22:41:30.241" v="8783" actId="478"/>
          <ac:spMkLst>
            <pc:docMk/>
            <pc:sldMk cId="2634185704" sldId="308"/>
            <ac:spMk id="8" creationId="{4F323EED-64A9-E28E-4974-C3597216BE87}"/>
          </ac:spMkLst>
        </pc:spChg>
        <pc:spChg chg="mod">
          <ac:chgData name="Kau, Derchang" userId="b9148588-e694-4445-9765-2c9aad6149ce" providerId="ADAL" clId="{F798D4AA-0E14-EB43-9CA0-DC099737DEE1}" dt="2023-11-21T06:50:17.522" v="7097" actId="207"/>
          <ac:spMkLst>
            <pc:docMk/>
            <pc:sldMk cId="2634185704" sldId="308"/>
            <ac:spMk id="13" creationId="{C0B6ED4C-DA47-AB40-886D-48564D5E729C}"/>
          </ac:spMkLst>
        </pc:spChg>
        <pc:spChg chg="mod">
          <ac:chgData name="Kau, Derchang" userId="b9148588-e694-4445-9765-2c9aad6149ce" providerId="ADAL" clId="{F798D4AA-0E14-EB43-9CA0-DC099737DEE1}" dt="2023-11-21T06:50:12.884" v="7096" actId="207"/>
          <ac:spMkLst>
            <pc:docMk/>
            <pc:sldMk cId="2634185704" sldId="308"/>
            <ac:spMk id="22" creationId="{FE749361-2C6E-4A4C-BEC2-276AC9AAFCFF}"/>
          </ac:spMkLst>
        </pc:spChg>
        <pc:grpChg chg="mod topLvl">
          <ac:chgData name="Kau, Derchang" userId="b9148588-e694-4445-9765-2c9aad6149ce" providerId="ADAL" clId="{F798D4AA-0E14-EB43-9CA0-DC099737DEE1}" dt="2023-11-27T22:42:28.872" v="8790" actId="164"/>
          <ac:grpSpMkLst>
            <pc:docMk/>
            <pc:sldMk cId="2634185704" sldId="308"/>
            <ac:grpSpMk id="5" creationId="{144E8702-40CD-0043-8CF1-8189E7BA327B}"/>
          </ac:grpSpMkLst>
        </pc:grpChg>
        <pc:grpChg chg="add mod">
          <ac:chgData name="Kau, Derchang" userId="b9148588-e694-4445-9765-2c9aad6149ce" providerId="ADAL" clId="{F798D4AA-0E14-EB43-9CA0-DC099737DEE1}" dt="2023-11-27T22:42:34.836" v="8791" actId="1076"/>
          <ac:grpSpMkLst>
            <pc:docMk/>
            <pc:sldMk cId="2634185704" sldId="308"/>
            <ac:grpSpMk id="6" creationId="{1DA0C247-13B4-698B-0AD9-2113DA04D7BC}"/>
          </ac:grpSpMkLst>
        </pc:grpChg>
        <pc:grpChg chg="del">
          <ac:chgData name="Kau, Derchang" userId="b9148588-e694-4445-9765-2c9aad6149ce" providerId="ADAL" clId="{F798D4AA-0E14-EB43-9CA0-DC099737DEE1}" dt="2023-11-21T06:49:10.724" v="7088" actId="165"/>
          <ac:grpSpMkLst>
            <pc:docMk/>
            <pc:sldMk cId="2634185704" sldId="308"/>
            <ac:grpSpMk id="37" creationId="{3271EA61-B60F-A04C-9DE3-7C119B1199F6}"/>
          </ac:grpSpMkLst>
        </pc:grpChg>
        <pc:graphicFrameChg chg="mod topLvl">
          <ac:chgData name="Kau, Derchang" userId="b9148588-e694-4445-9765-2c9aad6149ce" providerId="ADAL" clId="{F798D4AA-0E14-EB43-9CA0-DC099737DEE1}" dt="2023-11-27T22:42:28.872" v="8790" actId="164"/>
          <ac:graphicFrameMkLst>
            <pc:docMk/>
            <pc:sldMk cId="2634185704" sldId="308"/>
            <ac:graphicFrameMk id="33" creationId="{8DBC7F19-7B71-034D-8802-98E695ADEE22}"/>
          </ac:graphicFrameMkLst>
        </pc:graphicFrameChg>
        <pc:cxnChg chg="mod">
          <ac:chgData name="Kau, Derchang" userId="b9148588-e694-4445-9765-2c9aad6149ce" providerId="ADAL" clId="{F798D4AA-0E14-EB43-9CA0-DC099737DEE1}" dt="2023-11-21T06:50:05.372" v="7095" actId="208"/>
          <ac:cxnSpMkLst>
            <pc:docMk/>
            <pc:sldMk cId="2634185704" sldId="308"/>
            <ac:cxnSpMk id="10" creationId="{D9AE795A-A822-4848-AA3B-E75B17AAC8DB}"/>
          </ac:cxnSpMkLst>
        </pc:cxnChg>
        <pc:cxnChg chg="mod">
          <ac:chgData name="Kau, Derchang" userId="b9148588-e694-4445-9765-2c9aad6149ce" providerId="ADAL" clId="{F798D4AA-0E14-EB43-9CA0-DC099737DEE1}" dt="2023-11-21T06:50:02.153" v="7094" actId="208"/>
          <ac:cxnSpMkLst>
            <pc:docMk/>
            <pc:sldMk cId="2634185704" sldId="308"/>
            <ac:cxnSpMk id="12" creationId="{F9B96309-0913-D941-9CA0-174E80824A55}"/>
          </ac:cxnSpMkLst>
        </pc:cxnChg>
      </pc:sldChg>
      <pc:sldChg chg="modSp add del mod">
        <pc:chgData name="Kau, Derchang" userId="b9148588-e694-4445-9765-2c9aad6149ce" providerId="ADAL" clId="{F798D4AA-0E14-EB43-9CA0-DC099737DEE1}" dt="2023-11-26T19:37:43.668" v="8214" actId="27636"/>
        <pc:sldMkLst>
          <pc:docMk/>
          <pc:sldMk cId="2264973902" sldId="2147308454"/>
        </pc:sldMkLst>
        <pc:spChg chg="mod">
          <ac:chgData name="Kau, Derchang" userId="b9148588-e694-4445-9765-2c9aad6149ce" providerId="ADAL" clId="{F798D4AA-0E14-EB43-9CA0-DC099737DEE1}" dt="2023-11-26T19:37:43.668" v="8214" actId="27636"/>
          <ac:spMkLst>
            <pc:docMk/>
            <pc:sldMk cId="2264973902" sldId="2147308454"/>
            <ac:spMk id="10" creationId="{7BF489A2-6BC8-4AD2-BEF4-AA2F83446ED2}"/>
          </ac:spMkLst>
        </pc:spChg>
      </pc:sldChg>
      <pc:sldChg chg="addSp modSp add del mod ord">
        <pc:chgData name="Kau, Derchang" userId="b9148588-e694-4445-9765-2c9aad6149ce" providerId="ADAL" clId="{F798D4AA-0E14-EB43-9CA0-DC099737DEE1}" dt="2023-11-21T04:20:36.966" v="5191" actId="20577"/>
        <pc:sldMkLst>
          <pc:docMk/>
          <pc:sldMk cId="1536253609" sldId="2147308611"/>
        </pc:sldMkLst>
        <pc:spChg chg="mod">
          <ac:chgData name="Kau, Derchang" userId="b9148588-e694-4445-9765-2c9aad6149ce" providerId="ADAL" clId="{F798D4AA-0E14-EB43-9CA0-DC099737DEE1}" dt="2023-11-21T04:20:36.966" v="5191" actId="20577"/>
          <ac:spMkLst>
            <pc:docMk/>
            <pc:sldMk cId="1536253609" sldId="2147308611"/>
            <ac:spMk id="2" creationId="{B3BD3068-2E66-4941-A844-33A769AD6190}"/>
          </ac:spMkLst>
        </pc:spChg>
        <pc:picChg chg="add mod">
          <ac:chgData name="Kau, Derchang" userId="b9148588-e694-4445-9765-2c9aad6149ce" providerId="ADAL" clId="{F798D4AA-0E14-EB43-9CA0-DC099737DEE1}" dt="2023-11-21T04:18:45.886" v="5173"/>
          <ac:picMkLst>
            <pc:docMk/>
            <pc:sldMk cId="1536253609" sldId="2147308611"/>
            <ac:picMk id="6" creationId="{B18A255A-296F-A5FC-9DC6-586F1A3265B3}"/>
          </ac:picMkLst>
        </pc:picChg>
      </pc:sldChg>
      <pc:sldChg chg="addSp modSp add del mod">
        <pc:chgData name="Kau, Derchang" userId="b9148588-e694-4445-9765-2c9aad6149ce" providerId="ADAL" clId="{F798D4AA-0E14-EB43-9CA0-DC099737DEE1}" dt="2023-11-21T04:17:10.535" v="5159" actId="20577"/>
        <pc:sldMkLst>
          <pc:docMk/>
          <pc:sldMk cId="4157309619" sldId="2147308620"/>
        </pc:sldMkLst>
        <pc:spChg chg="mod">
          <ac:chgData name="Kau, Derchang" userId="b9148588-e694-4445-9765-2c9aad6149ce" providerId="ADAL" clId="{F798D4AA-0E14-EB43-9CA0-DC099737DEE1}" dt="2023-11-21T04:17:10.535" v="5159" actId="20577"/>
          <ac:spMkLst>
            <pc:docMk/>
            <pc:sldMk cId="4157309619" sldId="2147308620"/>
            <ac:spMk id="8" creationId="{F1985EDE-7E3D-4B98-AA66-0B889A05FF18}"/>
          </ac:spMkLst>
        </pc:spChg>
        <pc:graphicFrameChg chg="mod">
          <ac:chgData name="Kau, Derchang" userId="b9148588-e694-4445-9765-2c9aad6149ce" providerId="ADAL" clId="{F798D4AA-0E14-EB43-9CA0-DC099737DEE1}" dt="2023-11-13T22:44:49.647" v="433"/>
          <ac:graphicFrameMkLst>
            <pc:docMk/>
            <pc:sldMk cId="4157309619" sldId="2147308620"/>
            <ac:graphicFrameMk id="10" creationId="{2CDEB6FF-389D-41F9-AED3-08A2BB30BEE2}"/>
          </ac:graphicFrameMkLst>
        </pc:graphicFrameChg>
        <pc:picChg chg="add mod">
          <ac:chgData name="Kau, Derchang" userId="b9148588-e694-4445-9765-2c9aad6149ce" providerId="ADAL" clId="{F798D4AA-0E14-EB43-9CA0-DC099737DEE1}" dt="2023-11-21T04:15:53.488" v="5134" actId="1076"/>
          <ac:picMkLst>
            <pc:docMk/>
            <pc:sldMk cId="4157309619" sldId="2147308620"/>
            <ac:picMk id="5" creationId="{C9D2C2D9-A466-BE59-701E-E64F46901297}"/>
          </ac:picMkLst>
        </pc:picChg>
      </pc:sldChg>
      <pc:sldChg chg="delSp modSp add del mod ord modClrScheme chgLayout">
        <pc:chgData name="Kau, Derchang" userId="b9148588-e694-4445-9765-2c9aad6149ce" providerId="ADAL" clId="{F798D4AA-0E14-EB43-9CA0-DC099737DEE1}" dt="2023-11-14T22:43:17.386" v="1010" actId="2696"/>
        <pc:sldMkLst>
          <pc:docMk/>
          <pc:sldMk cId="3815919927" sldId="2147309837"/>
        </pc:sldMkLst>
        <pc:spChg chg="mod ord">
          <ac:chgData name="Kau, Derchang" userId="b9148588-e694-4445-9765-2c9aad6149ce" providerId="ADAL" clId="{F798D4AA-0E14-EB43-9CA0-DC099737DEE1}" dt="2023-11-14T22:16:07.072" v="936" actId="20577"/>
          <ac:spMkLst>
            <pc:docMk/>
            <pc:sldMk cId="3815919927" sldId="2147309837"/>
            <ac:spMk id="2" creationId="{1A1E8779-0D17-44FD-8B9E-AF0A0B283FC5}"/>
          </ac:spMkLst>
        </pc:spChg>
        <pc:spChg chg="mod ord">
          <ac:chgData name="Kau, Derchang" userId="b9148588-e694-4445-9765-2c9aad6149ce" providerId="ADAL" clId="{F798D4AA-0E14-EB43-9CA0-DC099737DEE1}" dt="2023-11-14T22:15:26.690" v="926" actId="700"/>
          <ac:spMkLst>
            <pc:docMk/>
            <pc:sldMk cId="3815919927" sldId="2147309837"/>
            <ac:spMk id="3" creationId="{FB739028-FFA4-4F35-828F-8842C7D73363}"/>
          </ac:spMkLst>
        </pc:spChg>
        <pc:spChg chg="del">
          <ac:chgData name="Kau, Derchang" userId="b9148588-e694-4445-9765-2c9aad6149ce" providerId="ADAL" clId="{F798D4AA-0E14-EB43-9CA0-DC099737DEE1}" dt="2023-11-14T22:15:26.690" v="926" actId="700"/>
          <ac:spMkLst>
            <pc:docMk/>
            <pc:sldMk cId="3815919927" sldId="2147309837"/>
            <ac:spMk id="4" creationId="{33CC2374-7481-4EDE-AD90-4AAFC522DB63}"/>
          </ac:spMkLst>
        </pc:spChg>
        <pc:spChg chg="del">
          <ac:chgData name="Kau, Derchang" userId="b9148588-e694-4445-9765-2c9aad6149ce" providerId="ADAL" clId="{F798D4AA-0E14-EB43-9CA0-DC099737DEE1}" dt="2023-11-14T22:15:26.690" v="926" actId="700"/>
          <ac:spMkLst>
            <pc:docMk/>
            <pc:sldMk cId="3815919927" sldId="2147309837"/>
            <ac:spMk id="5" creationId="{C024B7D7-8650-4702-BB21-BF6D84CB9BC3}"/>
          </ac:spMkLst>
        </pc:spChg>
        <pc:picChg chg="mod">
          <ac:chgData name="Kau, Derchang" userId="b9148588-e694-4445-9765-2c9aad6149ce" providerId="ADAL" clId="{F798D4AA-0E14-EB43-9CA0-DC099737DEE1}" dt="2023-11-14T22:15:55.143" v="933" actId="1076"/>
          <ac:picMkLst>
            <pc:docMk/>
            <pc:sldMk cId="3815919927" sldId="2147309837"/>
            <ac:picMk id="6" creationId="{43F3DE7A-9F48-43E6-87EC-B0867678D874}"/>
          </ac:picMkLst>
        </pc:picChg>
      </pc:sldChg>
      <pc:sldChg chg="addSp delSp modSp new mod modClrScheme chgLayout">
        <pc:chgData name="Kau, Derchang" userId="b9148588-e694-4445-9765-2c9aad6149ce" providerId="ADAL" clId="{F798D4AA-0E14-EB43-9CA0-DC099737DEE1}" dt="2023-11-14T22:21:36.470" v="980" actId="20577"/>
        <pc:sldMkLst>
          <pc:docMk/>
          <pc:sldMk cId="1859211272" sldId="2147309838"/>
        </pc:sldMkLst>
        <pc:spChg chg="add mod ord">
          <ac:chgData name="Kau, Derchang" userId="b9148588-e694-4445-9765-2c9aad6149ce" providerId="ADAL" clId="{F798D4AA-0E14-EB43-9CA0-DC099737DEE1}" dt="2023-11-14T22:21:36.470" v="980" actId="20577"/>
          <ac:spMkLst>
            <pc:docMk/>
            <pc:sldMk cId="1859211272" sldId="2147309838"/>
            <ac:spMk id="5" creationId="{F5CF99BA-A362-5B7D-160F-5C5CB7C5B42C}"/>
          </ac:spMkLst>
        </pc:spChg>
        <pc:picChg chg="add del mod">
          <ac:chgData name="Kau, Derchang" userId="b9148588-e694-4445-9765-2c9aad6149ce" providerId="ADAL" clId="{F798D4AA-0E14-EB43-9CA0-DC099737DEE1}" dt="2023-11-14T22:21:09.761" v="956" actId="1038"/>
          <ac:picMkLst>
            <pc:docMk/>
            <pc:sldMk cId="1859211272" sldId="2147309838"/>
            <ac:picMk id="2" creationId="{BAC62020-5653-E3DB-259C-D255A324DCCB}"/>
          </ac:picMkLst>
        </pc:picChg>
        <pc:picChg chg="add del mod">
          <ac:chgData name="Kau, Derchang" userId="b9148588-e694-4445-9765-2c9aad6149ce" providerId="ADAL" clId="{F798D4AA-0E14-EB43-9CA0-DC099737DEE1}" dt="2023-11-14T22:20:28.428" v="946"/>
          <ac:picMkLst>
            <pc:docMk/>
            <pc:sldMk cId="1859211272" sldId="2147309838"/>
            <ac:picMk id="3" creationId="{0A60554E-D859-B499-F805-13240A7D49D6}"/>
          </ac:picMkLst>
        </pc:picChg>
        <pc:picChg chg="add mod">
          <ac:chgData name="Kau, Derchang" userId="b9148588-e694-4445-9765-2c9aad6149ce" providerId="ADAL" clId="{F798D4AA-0E14-EB43-9CA0-DC099737DEE1}" dt="2023-11-14T22:21:13.927" v="957" actId="14100"/>
          <ac:picMkLst>
            <pc:docMk/>
            <pc:sldMk cId="1859211272" sldId="2147309838"/>
            <ac:picMk id="4" creationId="{766B5CEC-CA81-45F9-53F0-80020495411C}"/>
          </ac:picMkLst>
        </pc:picChg>
      </pc:sldChg>
      <pc:sldChg chg="addSp delSp modSp new mod modClrScheme chgLayout">
        <pc:chgData name="Kau, Derchang" userId="b9148588-e694-4445-9765-2c9aad6149ce" providerId="ADAL" clId="{F798D4AA-0E14-EB43-9CA0-DC099737DEE1}" dt="2023-11-14T22:23:25.805" v="1006" actId="20577"/>
        <pc:sldMkLst>
          <pc:docMk/>
          <pc:sldMk cId="3574304675" sldId="2147309839"/>
        </pc:sldMkLst>
        <pc:spChg chg="del mod ord">
          <ac:chgData name="Kau, Derchang" userId="b9148588-e694-4445-9765-2c9aad6149ce" providerId="ADAL" clId="{F798D4AA-0E14-EB43-9CA0-DC099737DEE1}" dt="2023-11-14T22:23:15.596" v="984" actId="700"/>
          <ac:spMkLst>
            <pc:docMk/>
            <pc:sldMk cId="3574304675" sldId="2147309839"/>
            <ac:spMk id="2" creationId="{10945EBD-4068-FE77-C380-56C5ADA094BD}"/>
          </ac:spMkLst>
        </pc:spChg>
        <pc:spChg chg="del mod ord">
          <ac:chgData name="Kau, Derchang" userId="b9148588-e694-4445-9765-2c9aad6149ce" providerId="ADAL" clId="{F798D4AA-0E14-EB43-9CA0-DC099737DEE1}" dt="2023-11-14T22:23:15.596" v="984" actId="700"/>
          <ac:spMkLst>
            <pc:docMk/>
            <pc:sldMk cId="3574304675" sldId="2147309839"/>
            <ac:spMk id="3" creationId="{E6E9C0BF-7401-DBB7-691B-2A5A7CF1C3F9}"/>
          </ac:spMkLst>
        </pc:spChg>
        <pc:spChg chg="add mod ord">
          <ac:chgData name="Kau, Derchang" userId="b9148588-e694-4445-9765-2c9aad6149ce" providerId="ADAL" clId="{F798D4AA-0E14-EB43-9CA0-DC099737DEE1}" dt="2023-11-14T22:23:25.805" v="1006" actId="20577"/>
          <ac:spMkLst>
            <pc:docMk/>
            <pc:sldMk cId="3574304675" sldId="2147309839"/>
            <ac:spMk id="4" creationId="{E2659635-E358-1428-4584-32CAACDC4A04}"/>
          </ac:spMkLst>
        </pc:spChg>
        <pc:spChg chg="add mod ord">
          <ac:chgData name="Kau, Derchang" userId="b9148588-e694-4445-9765-2c9aad6149ce" providerId="ADAL" clId="{F798D4AA-0E14-EB43-9CA0-DC099737DEE1}" dt="2023-11-14T22:23:15.596" v="984" actId="700"/>
          <ac:spMkLst>
            <pc:docMk/>
            <pc:sldMk cId="3574304675" sldId="2147309839"/>
            <ac:spMk id="5" creationId="{09029257-5324-BAE2-840F-1BFB4D03650C}"/>
          </ac:spMkLst>
        </pc:spChg>
      </pc:sldChg>
      <pc:sldChg chg="addSp modSp new mod">
        <pc:chgData name="Kau, Derchang" userId="b9148588-e694-4445-9765-2c9aad6149ce" providerId="ADAL" clId="{F798D4AA-0E14-EB43-9CA0-DC099737DEE1}" dt="2023-11-14T22:44:00.210" v="1016" actId="1076"/>
        <pc:sldMkLst>
          <pc:docMk/>
          <pc:sldMk cId="581657322" sldId="2147309840"/>
        </pc:sldMkLst>
        <pc:picChg chg="add mod">
          <ac:chgData name="Kau, Derchang" userId="b9148588-e694-4445-9765-2c9aad6149ce" providerId="ADAL" clId="{F798D4AA-0E14-EB43-9CA0-DC099737DEE1}" dt="2023-11-14T22:44:00.210" v="1016" actId="1076"/>
          <ac:picMkLst>
            <pc:docMk/>
            <pc:sldMk cId="581657322" sldId="2147309840"/>
            <ac:picMk id="2" creationId="{4A288688-CF3A-F3A1-1884-D0B0CE090D8F}"/>
          </ac:picMkLst>
        </pc:picChg>
      </pc:sldChg>
      <pc:sldChg chg="addSp modSp new mod ord">
        <pc:chgData name="Kau, Derchang" userId="b9148588-e694-4445-9765-2c9aad6149ce" providerId="ADAL" clId="{F798D4AA-0E14-EB43-9CA0-DC099737DEE1}" dt="2023-11-14T22:43:57.328" v="1015" actId="20578"/>
        <pc:sldMkLst>
          <pc:docMk/>
          <pc:sldMk cId="3872830236" sldId="2147309841"/>
        </pc:sldMkLst>
        <pc:picChg chg="add mod">
          <ac:chgData name="Kau, Derchang" userId="b9148588-e694-4445-9765-2c9aad6149ce" providerId="ADAL" clId="{F798D4AA-0E14-EB43-9CA0-DC099737DEE1}" dt="2023-11-14T22:43:55.178" v="1014" actId="1076"/>
          <ac:picMkLst>
            <pc:docMk/>
            <pc:sldMk cId="3872830236" sldId="2147309841"/>
            <ac:picMk id="2" creationId="{2F00C93C-D2D5-9C17-BF1C-E496757FFE75}"/>
          </ac:picMkLst>
        </pc:picChg>
      </pc:sldChg>
      <pc:sldChg chg="addSp modSp new mod">
        <pc:chgData name="Kau, Derchang" userId="b9148588-e694-4445-9765-2c9aad6149ce" providerId="ADAL" clId="{F798D4AA-0E14-EB43-9CA0-DC099737DEE1}" dt="2023-11-14T22:44:43.273" v="1019" actId="1076"/>
        <pc:sldMkLst>
          <pc:docMk/>
          <pc:sldMk cId="4184931692" sldId="2147309842"/>
        </pc:sldMkLst>
        <pc:picChg chg="add mod">
          <ac:chgData name="Kau, Derchang" userId="b9148588-e694-4445-9765-2c9aad6149ce" providerId="ADAL" clId="{F798D4AA-0E14-EB43-9CA0-DC099737DEE1}" dt="2023-11-14T22:44:43.273" v="1019" actId="1076"/>
          <ac:picMkLst>
            <pc:docMk/>
            <pc:sldMk cId="4184931692" sldId="2147309842"/>
            <ac:picMk id="2" creationId="{7A0C3018-F331-A057-ED53-9490FB8DBF01}"/>
          </ac:picMkLst>
        </pc:picChg>
      </pc:sldChg>
      <pc:sldChg chg="addSp modSp new mod">
        <pc:chgData name="Kau, Derchang" userId="b9148588-e694-4445-9765-2c9aad6149ce" providerId="ADAL" clId="{F798D4AA-0E14-EB43-9CA0-DC099737DEE1}" dt="2023-11-14T23:01:05.996" v="1024" actId="1076"/>
        <pc:sldMkLst>
          <pc:docMk/>
          <pc:sldMk cId="2027889020" sldId="2147309843"/>
        </pc:sldMkLst>
        <pc:picChg chg="add mod">
          <ac:chgData name="Kau, Derchang" userId="b9148588-e694-4445-9765-2c9aad6149ce" providerId="ADAL" clId="{F798D4AA-0E14-EB43-9CA0-DC099737DEE1}" dt="2023-11-14T23:01:05.996" v="1024" actId="1076"/>
          <ac:picMkLst>
            <pc:docMk/>
            <pc:sldMk cId="2027889020" sldId="2147309843"/>
            <ac:picMk id="2" creationId="{202AB135-CE68-6818-29BB-572A4FFF6D3C}"/>
          </ac:picMkLst>
        </pc:picChg>
      </pc:sldChg>
      <pc:sldChg chg="addSp modSp new mod">
        <pc:chgData name="Kau, Derchang" userId="b9148588-e694-4445-9765-2c9aad6149ce" providerId="ADAL" clId="{F798D4AA-0E14-EB43-9CA0-DC099737DEE1}" dt="2023-11-14T23:08:20.305" v="1069" actId="1076"/>
        <pc:sldMkLst>
          <pc:docMk/>
          <pc:sldMk cId="2910788618" sldId="2147309844"/>
        </pc:sldMkLst>
        <pc:picChg chg="add mod">
          <ac:chgData name="Kau, Derchang" userId="b9148588-e694-4445-9765-2c9aad6149ce" providerId="ADAL" clId="{F798D4AA-0E14-EB43-9CA0-DC099737DEE1}" dt="2023-11-14T23:08:20.305" v="1069" actId="1076"/>
          <ac:picMkLst>
            <pc:docMk/>
            <pc:sldMk cId="2910788618" sldId="2147309844"/>
            <ac:picMk id="2" creationId="{C53D510C-970C-543B-0EC4-147CF61485AD}"/>
          </ac:picMkLst>
        </pc:picChg>
      </pc:sldChg>
      <pc:sldChg chg="addSp delSp modSp new del mod ord">
        <pc:chgData name="Kau, Derchang" userId="b9148588-e694-4445-9765-2c9aad6149ce" providerId="ADAL" clId="{F798D4AA-0E14-EB43-9CA0-DC099737DEE1}" dt="2023-11-15T10:40:24.718" v="2245" actId="2696"/>
        <pc:sldMkLst>
          <pc:docMk/>
          <pc:sldMk cId="2550214486" sldId="2147309845"/>
        </pc:sldMkLst>
        <pc:spChg chg="mod">
          <ac:chgData name="Kau, Derchang" userId="b9148588-e694-4445-9765-2c9aad6149ce" providerId="ADAL" clId="{F798D4AA-0E14-EB43-9CA0-DC099737DEE1}" dt="2023-11-15T00:03:44.059" v="1722" actId="20577"/>
          <ac:spMkLst>
            <pc:docMk/>
            <pc:sldMk cId="2550214486" sldId="2147309845"/>
            <ac:spMk id="2" creationId="{DE5C8BDC-49E1-4CA4-82A6-60E4AC730A74}"/>
          </ac:spMkLst>
        </pc:spChg>
        <pc:picChg chg="add mod">
          <ac:chgData name="Kau, Derchang" userId="b9148588-e694-4445-9765-2c9aad6149ce" providerId="ADAL" clId="{F798D4AA-0E14-EB43-9CA0-DC099737DEE1}" dt="2023-11-14T23:58:18.514" v="1704" actId="1076"/>
          <ac:picMkLst>
            <pc:docMk/>
            <pc:sldMk cId="2550214486" sldId="2147309845"/>
            <ac:picMk id="1026" creationId="{5200F12D-5B1B-CF35-C56D-4AA0105B5468}"/>
          </ac:picMkLst>
        </pc:picChg>
        <pc:picChg chg="add mod">
          <ac:chgData name="Kau, Derchang" userId="b9148588-e694-4445-9765-2c9aad6149ce" providerId="ADAL" clId="{F798D4AA-0E14-EB43-9CA0-DC099737DEE1}" dt="2023-11-14T23:57:18.431" v="1701" actId="1076"/>
          <ac:picMkLst>
            <pc:docMk/>
            <pc:sldMk cId="2550214486" sldId="2147309845"/>
            <ac:picMk id="1028" creationId="{B70DC6DE-ECEB-853E-67DC-007476C84407}"/>
          </ac:picMkLst>
        </pc:picChg>
        <pc:picChg chg="add del mod">
          <ac:chgData name="Kau, Derchang" userId="b9148588-e694-4445-9765-2c9aad6149ce" providerId="ADAL" clId="{F798D4AA-0E14-EB43-9CA0-DC099737DEE1}" dt="2023-11-15T10:33:50.905" v="2193" actId="21"/>
          <ac:picMkLst>
            <pc:docMk/>
            <pc:sldMk cId="2550214486" sldId="2147309845"/>
            <ac:picMk id="1030" creationId="{D8B3910F-D425-B1A6-AFEC-A69E340924B3}"/>
          </ac:picMkLst>
        </pc:picChg>
      </pc:sldChg>
      <pc:sldChg chg="addSp delSp modSp new mod modClrScheme chgLayout">
        <pc:chgData name="Kau, Derchang" userId="b9148588-e694-4445-9765-2c9aad6149ce" providerId="ADAL" clId="{F798D4AA-0E14-EB43-9CA0-DC099737DEE1}" dt="2023-11-15T10:10:14.580" v="2007" actId="1076"/>
        <pc:sldMkLst>
          <pc:docMk/>
          <pc:sldMk cId="1639661010" sldId="2147309846"/>
        </pc:sldMkLst>
        <pc:spChg chg="del mod ord">
          <ac:chgData name="Kau, Derchang" userId="b9148588-e694-4445-9765-2c9aad6149ce" providerId="ADAL" clId="{F798D4AA-0E14-EB43-9CA0-DC099737DEE1}" dt="2023-11-15T09:36:46.536" v="1724" actId="700"/>
          <ac:spMkLst>
            <pc:docMk/>
            <pc:sldMk cId="1639661010" sldId="2147309846"/>
            <ac:spMk id="2" creationId="{01EAB9EC-ACA1-07C0-E439-4863DA5AFC80}"/>
          </ac:spMkLst>
        </pc:spChg>
        <pc:spChg chg="del">
          <ac:chgData name="Kau, Derchang" userId="b9148588-e694-4445-9765-2c9aad6149ce" providerId="ADAL" clId="{F798D4AA-0E14-EB43-9CA0-DC099737DEE1}" dt="2023-11-15T09:36:46.536" v="1724" actId="700"/>
          <ac:spMkLst>
            <pc:docMk/>
            <pc:sldMk cId="1639661010" sldId="2147309846"/>
            <ac:spMk id="3" creationId="{31B70E66-D064-6242-EE42-8F2F50EFBFCA}"/>
          </ac:spMkLst>
        </pc:spChg>
        <pc:spChg chg="add mod ord">
          <ac:chgData name="Kau, Derchang" userId="b9148588-e694-4445-9765-2c9aad6149ce" providerId="ADAL" clId="{F798D4AA-0E14-EB43-9CA0-DC099737DEE1}" dt="2023-11-15T10:10:14.580" v="2007" actId="1076"/>
          <ac:spMkLst>
            <pc:docMk/>
            <pc:sldMk cId="1639661010" sldId="2147309846"/>
            <ac:spMk id="4" creationId="{8E4AE512-A7D9-80CB-60E0-E3DFC3E6EAFF}"/>
          </ac:spMkLst>
        </pc:spChg>
        <pc:grpChg chg="add mod">
          <ac:chgData name="Kau, Derchang" userId="b9148588-e694-4445-9765-2c9aad6149ce" providerId="ADAL" clId="{F798D4AA-0E14-EB43-9CA0-DC099737DEE1}" dt="2023-11-15T09:39:33.896" v="1748" actId="1076"/>
          <ac:grpSpMkLst>
            <pc:docMk/>
            <pc:sldMk cId="1639661010" sldId="2147309846"/>
            <ac:grpSpMk id="7" creationId="{EB474FD3-824B-A153-1FDC-8199CBD69145}"/>
          </ac:grpSpMkLst>
        </pc:grpChg>
        <pc:picChg chg="add mod">
          <ac:chgData name="Kau, Derchang" userId="b9148588-e694-4445-9765-2c9aad6149ce" providerId="ADAL" clId="{F798D4AA-0E14-EB43-9CA0-DC099737DEE1}" dt="2023-11-15T09:37:07.576" v="1736" actId="1076"/>
          <ac:picMkLst>
            <pc:docMk/>
            <pc:sldMk cId="1639661010" sldId="2147309846"/>
            <ac:picMk id="5" creationId="{AC14CCA0-FA72-BD1D-577F-3D0135413725}"/>
          </ac:picMkLst>
        </pc:picChg>
        <pc:picChg chg="add mod">
          <ac:chgData name="Kau, Derchang" userId="b9148588-e694-4445-9765-2c9aad6149ce" providerId="ADAL" clId="{F798D4AA-0E14-EB43-9CA0-DC099737DEE1}" dt="2023-11-15T09:38:24.769" v="1738" actId="1076"/>
          <ac:picMkLst>
            <pc:docMk/>
            <pc:sldMk cId="1639661010" sldId="2147309846"/>
            <ac:picMk id="6" creationId="{10F8457C-2F38-D1E5-0FC7-694B482EA1FD}"/>
          </ac:picMkLst>
        </pc:picChg>
      </pc:sldChg>
      <pc:sldChg chg="addSp delSp modSp new mod modAnim">
        <pc:chgData name="Kau, Derchang" userId="b9148588-e694-4445-9765-2c9aad6149ce" providerId="ADAL" clId="{F798D4AA-0E14-EB43-9CA0-DC099737DEE1}" dt="2023-11-20T19:55:45.485" v="3994" actId="1035"/>
        <pc:sldMkLst>
          <pc:docMk/>
          <pc:sldMk cId="3898640017" sldId="2147309847"/>
        </pc:sldMkLst>
        <pc:spChg chg="mod">
          <ac:chgData name="Kau, Derchang" userId="b9148588-e694-4445-9765-2c9aad6149ce" providerId="ADAL" clId="{F798D4AA-0E14-EB43-9CA0-DC099737DEE1}" dt="2023-11-20T19:51:41.555" v="3960" actId="20577"/>
          <ac:spMkLst>
            <pc:docMk/>
            <pc:sldMk cId="3898640017" sldId="2147309847"/>
            <ac:spMk id="2" creationId="{D8709C27-F0F6-8E25-1F3C-97C7D0D73798}"/>
          </ac:spMkLst>
        </pc:spChg>
        <pc:spChg chg="add del mod">
          <ac:chgData name="Kau, Derchang" userId="b9148588-e694-4445-9765-2c9aad6149ce" providerId="ADAL" clId="{F798D4AA-0E14-EB43-9CA0-DC099737DEE1}" dt="2023-11-20T19:43:16.673" v="3927"/>
          <ac:spMkLst>
            <pc:docMk/>
            <pc:sldMk cId="3898640017" sldId="2147309847"/>
            <ac:spMk id="6" creationId="{F649E432-92F6-5E85-0408-201BDAA24795}"/>
          </ac:spMkLst>
        </pc:spChg>
        <pc:spChg chg="add mod">
          <ac:chgData name="Kau, Derchang" userId="b9148588-e694-4445-9765-2c9aad6149ce" providerId="ADAL" clId="{F798D4AA-0E14-EB43-9CA0-DC099737DEE1}" dt="2023-11-20T19:51:51.428" v="3961" actId="1076"/>
          <ac:spMkLst>
            <pc:docMk/>
            <pc:sldMk cId="3898640017" sldId="2147309847"/>
            <ac:spMk id="8" creationId="{0EF2E790-24F6-F4EE-28D6-C90E4C36B063}"/>
          </ac:spMkLst>
        </pc:spChg>
        <pc:grpChg chg="add del mod">
          <ac:chgData name="Kau, Derchang" userId="b9148588-e694-4445-9765-2c9aad6149ce" providerId="ADAL" clId="{F798D4AA-0E14-EB43-9CA0-DC099737DEE1}" dt="2023-11-20T19:40:21.563" v="3915" actId="165"/>
          <ac:grpSpMkLst>
            <pc:docMk/>
            <pc:sldMk cId="3898640017" sldId="2147309847"/>
            <ac:grpSpMk id="10" creationId="{25225981-AFB2-38E5-E96F-3954ED06A758}"/>
          </ac:grpSpMkLst>
        </pc:grpChg>
        <pc:picChg chg="add mod topLvl">
          <ac:chgData name="Kau, Derchang" userId="b9148588-e694-4445-9765-2c9aad6149ce" providerId="ADAL" clId="{F798D4AA-0E14-EB43-9CA0-DC099737DEE1}" dt="2023-11-20T19:49:04.398" v="3953" actId="1076"/>
          <ac:picMkLst>
            <pc:docMk/>
            <pc:sldMk cId="3898640017" sldId="2147309847"/>
            <ac:picMk id="3" creationId="{1E99D23A-E350-C4F0-4DD7-C263832592C5}"/>
          </ac:picMkLst>
        </pc:picChg>
        <pc:picChg chg="add mod topLvl">
          <ac:chgData name="Kau, Derchang" userId="b9148588-e694-4445-9765-2c9aad6149ce" providerId="ADAL" clId="{F798D4AA-0E14-EB43-9CA0-DC099737DEE1}" dt="2023-11-20T19:45:41.110" v="3944" actId="1076"/>
          <ac:picMkLst>
            <pc:docMk/>
            <pc:sldMk cId="3898640017" sldId="2147309847"/>
            <ac:picMk id="4" creationId="{5D1BB9F1-BACF-9DEB-AEB1-7CDDDE81807F}"/>
          </ac:picMkLst>
        </pc:picChg>
        <pc:picChg chg="add mod topLvl">
          <ac:chgData name="Kau, Derchang" userId="b9148588-e694-4445-9765-2c9aad6149ce" providerId="ADAL" clId="{F798D4AA-0E14-EB43-9CA0-DC099737DEE1}" dt="2023-11-20T19:55:45.485" v="3994" actId="1035"/>
          <ac:picMkLst>
            <pc:docMk/>
            <pc:sldMk cId="3898640017" sldId="2147309847"/>
            <ac:picMk id="5" creationId="{0A6B8B1B-E7E7-EC5A-4380-DF8E7844CF07}"/>
          </ac:picMkLst>
        </pc:picChg>
        <pc:picChg chg="add del mod">
          <ac:chgData name="Kau, Derchang" userId="b9148588-e694-4445-9765-2c9aad6149ce" providerId="ADAL" clId="{F798D4AA-0E14-EB43-9CA0-DC099737DEE1}" dt="2023-11-15T10:00:48.839" v="1847" actId="478"/>
          <ac:picMkLst>
            <pc:docMk/>
            <pc:sldMk cId="3898640017" sldId="2147309847"/>
            <ac:picMk id="6" creationId="{93890B60-C12D-510F-1538-2EFE9D49B92C}"/>
          </ac:picMkLst>
        </pc:picChg>
        <pc:picChg chg="add mod topLvl">
          <ac:chgData name="Kau, Derchang" userId="b9148588-e694-4445-9765-2c9aad6149ce" providerId="ADAL" clId="{F798D4AA-0E14-EB43-9CA0-DC099737DEE1}" dt="2023-11-20T19:55:45.485" v="3994" actId="1035"/>
          <ac:picMkLst>
            <pc:docMk/>
            <pc:sldMk cId="3898640017" sldId="2147309847"/>
            <ac:picMk id="7" creationId="{9C1E2E97-E918-3173-B8F8-D70B80280D86}"/>
          </ac:picMkLst>
        </pc:picChg>
        <pc:picChg chg="add del mod">
          <ac:chgData name="Kau, Derchang" userId="b9148588-e694-4445-9765-2c9aad6149ce" providerId="ADAL" clId="{F798D4AA-0E14-EB43-9CA0-DC099737DEE1}" dt="2023-11-15T10:05:28.983" v="1911" actId="21"/>
          <ac:picMkLst>
            <pc:docMk/>
            <pc:sldMk cId="3898640017" sldId="2147309847"/>
            <ac:picMk id="8" creationId="{B45300C1-F83E-9ABC-9B6F-A775365787B9}"/>
          </ac:picMkLst>
        </pc:picChg>
        <pc:picChg chg="add mod modCrop">
          <ac:chgData name="Kau, Derchang" userId="b9148588-e694-4445-9765-2c9aad6149ce" providerId="ADAL" clId="{F798D4AA-0E14-EB43-9CA0-DC099737DEE1}" dt="2023-11-20T19:45:41.110" v="3944" actId="1076"/>
          <ac:picMkLst>
            <pc:docMk/>
            <pc:sldMk cId="3898640017" sldId="2147309847"/>
            <ac:picMk id="9" creationId="{CE2C22F5-0F1B-859D-B963-14A38DDE03F3}"/>
          </ac:picMkLst>
        </pc:picChg>
      </pc:sldChg>
      <pc:sldChg chg="addSp modSp new mod ord">
        <pc:chgData name="Kau, Derchang" userId="b9148588-e694-4445-9765-2c9aad6149ce" providerId="ADAL" clId="{F798D4AA-0E14-EB43-9CA0-DC099737DEE1}" dt="2023-11-20T19:04:40.563" v="3891" actId="1036"/>
        <pc:sldMkLst>
          <pc:docMk/>
          <pc:sldMk cId="81670327" sldId="2147309848"/>
        </pc:sldMkLst>
        <pc:spChg chg="mod">
          <ac:chgData name="Kau, Derchang" userId="b9148588-e694-4445-9765-2c9aad6149ce" providerId="ADAL" clId="{F798D4AA-0E14-EB43-9CA0-DC099737DEE1}" dt="2023-11-15T10:33:37.177" v="2192" actId="20577"/>
          <ac:spMkLst>
            <pc:docMk/>
            <pc:sldMk cId="81670327" sldId="2147309848"/>
            <ac:spMk id="2" creationId="{646EF03C-CC20-6E1B-466F-D14FCEFF3779}"/>
          </ac:spMkLst>
        </pc:spChg>
        <pc:spChg chg="add mod">
          <ac:chgData name="Kau, Derchang" userId="b9148588-e694-4445-9765-2c9aad6149ce" providerId="ADAL" clId="{F798D4AA-0E14-EB43-9CA0-DC099737DEE1}" dt="2023-11-20T19:04:40.563" v="3891" actId="1036"/>
          <ac:spMkLst>
            <pc:docMk/>
            <pc:sldMk cId="81670327" sldId="2147309848"/>
            <ac:spMk id="7" creationId="{BEE2F645-FD61-D530-D7DA-EA0DA533810B}"/>
          </ac:spMkLst>
        </pc:spChg>
        <pc:grpChg chg="add mod">
          <ac:chgData name="Kau, Derchang" userId="b9148588-e694-4445-9765-2c9aad6149ce" providerId="ADAL" clId="{F798D4AA-0E14-EB43-9CA0-DC099737DEE1}" dt="2023-11-20T19:04:40.563" v="3891" actId="1036"/>
          <ac:grpSpMkLst>
            <pc:docMk/>
            <pc:sldMk cId="81670327" sldId="2147309848"/>
            <ac:grpSpMk id="8" creationId="{93DA41BC-973E-B93F-1718-93578F13C5A2}"/>
          </ac:grpSpMkLst>
        </pc:grpChg>
        <pc:picChg chg="add mod">
          <ac:chgData name="Kau, Derchang" userId="b9148588-e694-4445-9765-2c9aad6149ce" providerId="ADAL" clId="{F798D4AA-0E14-EB43-9CA0-DC099737DEE1}" dt="2023-11-20T19:04:40.563" v="3891" actId="1036"/>
          <ac:picMkLst>
            <pc:docMk/>
            <pc:sldMk cId="81670327" sldId="2147309848"/>
            <ac:picMk id="3" creationId="{3A07001D-1991-D00B-F9C4-322320AE1B5B}"/>
          </ac:picMkLst>
        </pc:picChg>
        <pc:picChg chg="add mod">
          <ac:chgData name="Kau, Derchang" userId="b9148588-e694-4445-9765-2c9aad6149ce" providerId="ADAL" clId="{F798D4AA-0E14-EB43-9CA0-DC099737DEE1}" dt="2023-11-20T18:32:07.500" v="3846" actId="14100"/>
          <ac:picMkLst>
            <pc:docMk/>
            <pc:sldMk cId="81670327" sldId="2147309848"/>
            <ac:picMk id="4" creationId="{EA63EB2A-2F22-A147-1DAA-F670008AED85}"/>
          </ac:picMkLst>
        </pc:picChg>
        <pc:picChg chg="add mod">
          <ac:chgData name="Kau, Derchang" userId="b9148588-e694-4445-9765-2c9aad6149ce" providerId="ADAL" clId="{F798D4AA-0E14-EB43-9CA0-DC099737DEE1}" dt="2023-11-20T18:32:08.734" v="3847" actId="1076"/>
          <ac:picMkLst>
            <pc:docMk/>
            <pc:sldMk cId="81670327" sldId="2147309848"/>
            <ac:picMk id="5" creationId="{28FCABA9-0597-24E3-E0D2-CE2FE88B43AD}"/>
          </ac:picMkLst>
        </pc:picChg>
        <pc:picChg chg="add mod">
          <ac:chgData name="Kau, Derchang" userId="b9148588-e694-4445-9765-2c9aad6149ce" providerId="ADAL" clId="{F798D4AA-0E14-EB43-9CA0-DC099737DEE1}" dt="2023-11-20T19:04:40.563" v="3891" actId="1036"/>
          <ac:picMkLst>
            <pc:docMk/>
            <pc:sldMk cId="81670327" sldId="2147309848"/>
            <ac:picMk id="6" creationId="{B22D3674-D84B-1564-030D-6BDC7CC5BF18}"/>
          </ac:picMkLst>
        </pc:picChg>
        <pc:picChg chg="add mod">
          <ac:chgData name="Kau, Derchang" userId="b9148588-e694-4445-9765-2c9aad6149ce" providerId="ADAL" clId="{F798D4AA-0E14-EB43-9CA0-DC099737DEE1}" dt="2023-11-20T18:32:20.732" v="3852" actId="14100"/>
          <ac:picMkLst>
            <pc:docMk/>
            <pc:sldMk cId="81670327" sldId="2147309848"/>
            <ac:picMk id="1026" creationId="{113573DB-63F5-6737-17EC-D8D5EA95D97F}"/>
          </ac:picMkLst>
        </pc:picChg>
        <pc:picChg chg="add mod">
          <ac:chgData name="Kau, Derchang" userId="b9148588-e694-4445-9765-2c9aad6149ce" providerId="ADAL" clId="{F798D4AA-0E14-EB43-9CA0-DC099737DEE1}" dt="2023-11-20T18:32:15.230" v="3851" actId="1076"/>
          <ac:picMkLst>
            <pc:docMk/>
            <pc:sldMk cId="81670327" sldId="2147309848"/>
            <ac:picMk id="1028" creationId="{3D656EB2-214C-2574-209F-7E3CFD5BF2EF}"/>
          </ac:picMkLst>
        </pc:picChg>
      </pc:sldChg>
      <pc:sldChg chg="addSp delSp modSp new mod modClrScheme delAnim modAnim chgLayout">
        <pc:chgData name="Kau, Derchang" userId="b9148588-e694-4445-9765-2c9aad6149ce" providerId="ADAL" clId="{F798D4AA-0E14-EB43-9CA0-DC099737DEE1}" dt="2023-11-28T17:06:24.505" v="9170" actId="114"/>
        <pc:sldMkLst>
          <pc:docMk/>
          <pc:sldMk cId="1362902179" sldId="2147309849"/>
        </pc:sldMkLst>
        <pc:spChg chg="del">
          <ac:chgData name="Kau, Derchang" userId="b9148588-e694-4445-9765-2c9aad6149ce" providerId="ADAL" clId="{F798D4AA-0E14-EB43-9CA0-DC099737DEE1}" dt="2023-11-18T19:02:42.910" v="2357" actId="700"/>
          <ac:spMkLst>
            <pc:docMk/>
            <pc:sldMk cId="1362902179" sldId="2147309849"/>
            <ac:spMk id="2" creationId="{A044A3EB-15FA-42FB-298C-680F0E8FAC64}"/>
          </ac:spMkLst>
        </pc:spChg>
        <pc:spChg chg="del">
          <ac:chgData name="Kau, Derchang" userId="b9148588-e694-4445-9765-2c9aad6149ce" providerId="ADAL" clId="{F798D4AA-0E14-EB43-9CA0-DC099737DEE1}" dt="2023-11-18T19:02:42.910" v="2357" actId="700"/>
          <ac:spMkLst>
            <pc:docMk/>
            <pc:sldMk cId="1362902179" sldId="2147309849"/>
            <ac:spMk id="3" creationId="{F2F2B293-71D6-1875-4767-52A097B3A71F}"/>
          </ac:spMkLst>
        </pc:spChg>
        <pc:spChg chg="del">
          <ac:chgData name="Kau, Derchang" userId="b9148588-e694-4445-9765-2c9aad6149ce" providerId="ADAL" clId="{F798D4AA-0E14-EB43-9CA0-DC099737DEE1}" dt="2023-11-18T19:02:42.910" v="2357" actId="700"/>
          <ac:spMkLst>
            <pc:docMk/>
            <pc:sldMk cId="1362902179" sldId="2147309849"/>
            <ac:spMk id="4" creationId="{3AFF0A8D-D06D-23A1-3706-A5381A596CAE}"/>
          </ac:spMkLst>
        </pc:spChg>
        <pc:spChg chg="add del">
          <ac:chgData name="Kau, Derchang" userId="b9148588-e694-4445-9765-2c9aad6149ce" providerId="ADAL" clId="{F798D4AA-0E14-EB43-9CA0-DC099737DEE1}" dt="2023-11-18T19:02:47.039" v="2359" actId="22"/>
          <ac:spMkLst>
            <pc:docMk/>
            <pc:sldMk cId="1362902179" sldId="2147309849"/>
            <ac:spMk id="6" creationId="{AE333682-45AE-A847-BEC1-448A9F1FC428}"/>
          </ac:spMkLst>
        </pc:spChg>
        <pc:spChg chg="add del">
          <ac:chgData name="Kau, Derchang" userId="b9148588-e694-4445-9765-2c9aad6149ce" providerId="ADAL" clId="{F798D4AA-0E14-EB43-9CA0-DC099737DEE1}" dt="2023-11-18T19:02:58.765" v="2361" actId="478"/>
          <ac:spMkLst>
            <pc:docMk/>
            <pc:sldMk cId="1362902179" sldId="2147309849"/>
            <ac:spMk id="8" creationId="{6B9D0C8C-D591-6AEB-DF2E-917403A1713F}"/>
          </ac:spMkLst>
        </pc:spChg>
        <pc:spChg chg="add mod">
          <ac:chgData name="Kau, Derchang" userId="b9148588-e694-4445-9765-2c9aad6149ce" providerId="ADAL" clId="{F798D4AA-0E14-EB43-9CA0-DC099737DEE1}" dt="2023-11-28T17:06:24.505" v="9170" actId="114"/>
          <ac:spMkLst>
            <pc:docMk/>
            <pc:sldMk cId="1362902179" sldId="2147309849"/>
            <ac:spMk id="11" creationId="{77105190-D22D-3E08-C0C8-F9DBA54619B5}"/>
          </ac:spMkLst>
        </pc:spChg>
        <pc:spChg chg="add mod">
          <ac:chgData name="Kau, Derchang" userId="b9148588-e694-4445-9765-2c9aad6149ce" providerId="ADAL" clId="{F798D4AA-0E14-EB43-9CA0-DC099737DEE1}" dt="2023-11-19T18:35:15.631" v="3153" actId="2711"/>
          <ac:spMkLst>
            <pc:docMk/>
            <pc:sldMk cId="1362902179" sldId="2147309849"/>
            <ac:spMk id="13" creationId="{0DAA30DA-8480-BCE5-BEC5-BCB6DDF62A6C}"/>
          </ac:spMkLst>
        </pc:spChg>
        <pc:spChg chg="add del mod">
          <ac:chgData name="Kau, Derchang" userId="b9148588-e694-4445-9765-2c9aad6149ce" providerId="ADAL" clId="{F798D4AA-0E14-EB43-9CA0-DC099737DEE1}" dt="2023-11-19T18:05:11.183" v="2802" actId="478"/>
          <ac:spMkLst>
            <pc:docMk/>
            <pc:sldMk cId="1362902179" sldId="2147309849"/>
            <ac:spMk id="16" creationId="{877BB7EA-BD76-6D5C-DAE2-6674AB8AF63F}"/>
          </ac:spMkLst>
        </pc:spChg>
        <pc:spChg chg="add del mod">
          <ac:chgData name="Kau, Derchang" userId="b9148588-e694-4445-9765-2c9aad6149ce" providerId="ADAL" clId="{F798D4AA-0E14-EB43-9CA0-DC099737DEE1}" dt="2023-11-19T17:53:07.800" v="2694"/>
          <ac:spMkLst>
            <pc:docMk/>
            <pc:sldMk cId="1362902179" sldId="2147309849"/>
            <ac:spMk id="17" creationId="{0D87A1CD-0BD1-3437-FA54-8119B7B75B9B}"/>
          </ac:spMkLst>
        </pc:spChg>
        <pc:spChg chg="add mod">
          <ac:chgData name="Kau, Derchang" userId="b9148588-e694-4445-9765-2c9aad6149ce" providerId="ADAL" clId="{F798D4AA-0E14-EB43-9CA0-DC099737DEE1}" dt="2023-11-19T18:02:44.589" v="2785" actId="1076"/>
          <ac:spMkLst>
            <pc:docMk/>
            <pc:sldMk cId="1362902179" sldId="2147309849"/>
            <ac:spMk id="18" creationId="{B1787CF2-E877-0EAA-643D-1761EA4231FD}"/>
          </ac:spMkLst>
        </pc:spChg>
        <pc:spChg chg="add del mod">
          <ac:chgData name="Kau, Derchang" userId="b9148588-e694-4445-9765-2c9aad6149ce" providerId="ADAL" clId="{F798D4AA-0E14-EB43-9CA0-DC099737DEE1}" dt="2023-11-19T18:07:32.078" v="2825" actId="21"/>
          <ac:spMkLst>
            <pc:docMk/>
            <pc:sldMk cId="1362902179" sldId="2147309849"/>
            <ac:spMk id="19" creationId="{2888E710-5DEF-3F7F-628A-F87DEA3CCFEC}"/>
          </ac:spMkLst>
        </pc:spChg>
        <pc:spChg chg="add del mod">
          <ac:chgData name="Kau, Derchang" userId="b9148588-e694-4445-9765-2c9aad6149ce" providerId="ADAL" clId="{F798D4AA-0E14-EB43-9CA0-DC099737DEE1}" dt="2023-11-19T18:08:04.650" v="2842" actId="478"/>
          <ac:spMkLst>
            <pc:docMk/>
            <pc:sldMk cId="1362902179" sldId="2147309849"/>
            <ac:spMk id="20" creationId="{B3A79F98-BF4D-F0F1-9BDF-F14E986C2EAC}"/>
          </ac:spMkLst>
        </pc:spChg>
        <pc:spChg chg="add del">
          <ac:chgData name="Kau, Derchang" userId="b9148588-e694-4445-9765-2c9aad6149ce" providerId="ADAL" clId="{F798D4AA-0E14-EB43-9CA0-DC099737DEE1}" dt="2023-11-19T18:03:22.294" v="2788" actId="11529"/>
          <ac:spMkLst>
            <pc:docMk/>
            <pc:sldMk cId="1362902179" sldId="2147309849"/>
            <ac:spMk id="21" creationId="{2DD89641-5272-8890-9EB0-D883E2F17C29}"/>
          </ac:spMkLst>
        </pc:spChg>
        <pc:spChg chg="add del mod">
          <ac:chgData name="Kau, Derchang" userId="b9148588-e694-4445-9765-2c9aad6149ce" providerId="ADAL" clId="{F798D4AA-0E14-EB43-9CA0-DC099737DEE1}" dt="2023-11-19T18:07:21.181" v="2822" actId="478"/>
          <ac:spMkLst>
            <pc:docMk/>
            <pc:sldMk cId="1362902179" sldId="2147309849"/>
            <ac:spMk id="22" creationId="{B5172423-9D13-675B-C0D7-A053846B6B84}"/>
          </ac:spMkLst>
        </pc:spChg>
        <pc:spChg chg="add mod">
          <ac:chgData name="Kau, Derchang" userId="b9148588-e694-4445-9765-2c9aad6149ce" providerId="ADAL" clId="{F798D4AA-0E14-EB43-9CA0-DC099737DEE1}" dt="2023-11-19T18:19:08.841" v="3021" actId="207"/>
          <ac:spMkLst>
            <pc:docMk/>
            <pc:sldMk cId="1362902179" sldId="2147309849"/>
            <ac:spMk id="23" creationId="{767B7F8B-A71E-54EA-AA76-D1897984AD67}"/>
          </ac:spMkLst>
        </pc:spChg>
        <pc:spChg chg="add mod">
          <ac:chgData name="Kau, Derchang" userId="b9148588-e694-4445-9765-2c9aad6149ce" providerId="ADAL" clId="{F798D4AA-0E14-EB43-9CA0-DC099737DEE1}" dt="2023-11-19T18:24:01.602" v="3036" actId="1076"/>
          <ac:spMkLst>
            <pc:docMk/>
            <pc:sldMk cId="1362902179" sldId="2147309849"/>
            <ac:spMk id="24" creationId="{DF22458A-26B5-A55E-9C28-F871095ED44C}"/>
          </ac:spMkLst>
        </pc:spChg>
        <pc:spChg chg="add mod">
          <ac:chgData name="Kau, Derchang" userId="b9148588-e694-4445-9765-2c9aad6149ce" providerId="ADAL" clId="{F798D4AA-0E14-EB43-9CA0-DC099737DEE1}" dt="2023-11-19T18:14:58.798" v="3001" actId="20577"/>
          <ac:spMkLst>
            <pc:docMk/>
            <pc:sldMk cId="1362902179" sldId="2147309849"/>
            <ac:spMk id="25" creationId="{75AD82C5-FE24-4B1E-2D66-541C860A7D82}"/>
          </ac:spMkLst>
        </pc:spChg>
        <pc:spChg chg="add mod">
          <ac:chgData name="Kau, Derchang" userId="b9148588-e694-4445-9765-2c9aad6149ce" providerId="ADAL" clId="{F798D4AA-0E14-EB43-9CA0-DC099737DEE1}" dt="2023-11-19T18:15:01.528" v="3003" actId="20577"/>
          <ac:spMkLst>
            <pc:docMk/>
            <pc:sldMk cId="1362902179" sldId="2147309849"/>
            <ac:spMk id="26" creationId="{D241818A-3BD6-7BD4-2585-38CEF460C348}"/>
          </ac:spMkLst>
        </pc:spChg>
        <pc:spChg chg="add mod">
          <ac:chgData name="Kau, Derchang" userId="b9148588-e694-4445-9765-2c9aad6149ce" providerId="ADAL" clId="{F798D4AA-0E14-EB43-9CA0-DC099737DEE1}" dt="2023-11-19T18:18:11.544" v="3019" actId="20577"/>
          <ac:spMkLst>
            <pc:docMk/>
            <pc:sldMk cId="1362902179" sldId="2147309849"/>
            <ac:spMk id="27" creationId="{C9EF1DB1-0630-B041-321F-BB203EF0461E}"/>
          </ac:spMkLst>
        </pc:spChg>
        <pc:spChg chg="add mod">
          <ac:chgData name="Kau, Derchang" userId="b9148588-e694-4445-9765-2c9aad6149ce" providerId="ADAL" clId="{F798D4AA-0E14-EB43-9CA0-DC099737DEE1}" dt="2023-11-19T18:20:46.899" v="3026"/>
          <ac:spMkLst>
            <pc:docMk/>
            <pc:sldMk cId="1362902179" sldId="2147309849"/>
            <ac:spMk id="28" creationId="{121E0E7D-6D94-3F72-ECCC-8478F9141BA7}"/>
          </ac:spMkLst>
        </pc:spChg>
        <pc:spChg chg="add mod">
          <ac:chgData name="Kau, Derchang" userId="b9148588-e694-4445-9765-2c9aad6149ce" providerId="ADAL" clId="{F798D4AA-0E14-EB43-9CA0-DC099737DEE1}" dt="2023-11-19T18:24:06.851" v="3037" actId="14100"/>
          <ac:spMkLst>
            <pc:docMk/>
            <pc:sldMk cId="1362902179" sldId="2147309849"/>
            <ac:spMk id="29" creationId="{F559D3E8-7C82-AD70-A4CD-13809E1D39D8}"/>
          </ac:spMkLst>
        </pc:spChg>
        <pc:spChg chg="add">
          <ac:chgData name="Kau, Derchang" userId="b9148588-e694-4445-9765-2c9aad6149ce" providerId="ADAL" clId="{F798D4AA-0E14-EB43-9CA0-DC099737DEE1}" dt="2023-11-19T18:21:42.200" v="3028" actId="11529"/>
          <ac:spMkLst>
            <pc:docMk/>
            <pc:sldMk cId="1362902179" sldId="2147309849"/>
            <ac:spMk id="30" creationId="{3A8223EF-3544-D4E0-9B85-2E18E7F7D986}"/>
          </ac:spMkLst>
        </pc:spChg>
        <pc:spChg chg="add mod">
          <ac:chgData name="Kau, Derchang" userId="b9148588-e694-4445-9765-2c9aad6149ce" providerId="ADAL" clId="{F798D4AA-0E14-EB43-9CA0-DC099737DEE1}" dt="2023-11-19T18:40:40.399" v="3168" actId="14100"/>
          <ac:spMkLst>
            <pc:docMk/>
            <pc:sldMk cId="1362902179" sldId="2147309849"/>
            <ac:spMk id="31" creationId="{CD0B16DF-21A5-54CB-475E-B5E29C8EED97}"/>
          </ac:spMkLst>
        </pc:spChg>
        <pc:spChg chg="add del">
          <ac:chgData name="Kau, Derchang" userId="b9148588-e694-4445-9765-2c9aad6149ce" providerId="ADAL" clId="{F798D4AA-0E14-EB43-9CA0-DC099737DEE1}" dt="2023-11-19T18:22:36.264" v="3031" actId="11529"/>
          <ac:spMkLst>
            <pc:docMk/>
            <pc:sldMk cId="1362902179" sldId="2147309849"/>
            <ac:spMk id="32" creationId="{AB4AE19F-DA98-60EA-89A7-15144EAE00CF}"/>
          </ac:spMkLst>
        </pc:spChg>
        <pc:spChg chg="add mod">
          <ac:chgData name="Kau, Derchang" userId="b9148588-e694-4445-9765-2c9aad6149ce" providerId="ADAL" clId="{F798D4AA-0E14-EB43-9CA0-DC099737DEE1}" dt="2023-11-19T18:23:01.442" v="3033" actId="14100"/>
          <ac:spMkLst>
            <pc:docMk/>
            <pc:sldMk cId="1362902179" sldId="2147309849"/>
            <ac:spMk id="33" creationId="{E5AA484F-ABB7-2FC3-D634-2546C6C17632}"/>
          </ac:spMkLst>
        </pc:spChg>
        <pc:spChg chg="add mod">
          <ac:chgData name="Kau, Derchang" userId="b9148588-e694-4445-9765-2c9aad6149ce" providerId="ADAL" clId="{F798D4AA-0E14-EB43-9CA0-DC099737DEE1}" dt="2023-11-19T18:37:46.435" v="3161" actId="207"/>
          <ac:spMkLst>
            <pc:docMk/>
            <pc:sldMk cId="1362902179" sldId="2147309849"/>
            <ac:spMk id="39" creationId="{DC3A943A-17AC-228A-450E-801A8AC26A09}"/>
          </ac:spMkLst>
        </pc:spChg>
        <pc:spChg chg="add mod topLvl">
          <ac:chgData name="Kau, Derchang" userId="b9148588-e694-4445-9765-2c9aad6149ce" providerId="ADAL" clId="{F798D4AA-0E14-EB43-9CA0-DC099737DEE1}" dt="2023-11-19T20:55:43.498" v="3352" actId="165"/>
          <ac:spMkLst>
            <pc:docMk/>
            <pc:sldMk cId="1362902179" sldId="2147309849"/>
            <ac:spMk id="42" creationId="{A3236D37-0B1E-3CBF-1CBB-1E4CBF14EFF5}"/>
          </ac:spMkLst>
        </pc:spChg>
        <pc:spChg chg="add mod">
          <ac:chgData name="Kau, Derchang" userId="b9148588-e694-4445-9765-2c9aad6149ce" providerId="ADAL" clId="{F798D4AA-0E14-EB43-9CA0-DC099737DEE1}" dt="2023-11-19T20:55:30.471" v="3351" actId="692"/>
          <ac:spMkLst>
            <pc:docMk/>
            <pc:sldMk cId="1362902179" sldId="2147309849"/>
            <ac:spMk id="44" creationId="{CC93BCE4-2051-23E6-B597-3F603F292F12}"/>
          </ac:spMkLst>
        </pc:spChg>
        <pc:grpChg chg="add">
          <ac:chgData name="Kau, Derchang" userId="b9148588-e694-4445-9765-2c9aad6149ce" providerId="ADAL" clId="{F798D4AA-0E14-EB43-9CA0-DC099737DEE1}" dt="2023-11-19T18:36:46.061" v="3154" actId="164"/>
          <ac:grpSpMkLst>
            <pc:docMk/>
            <pc:sldMk cId="1362902179" sldId="2147309849"/>
            <ac:grpSpMk id="34" creationId="{58193422-A88B-C931-207A-E4DA6D4EE98C}"/>
          </ac:grpSpMkLst>
        </pc:grpChg>
        <pc:grpChg chg="add">
          <ac:chgData name="Kau, Derchang" userId="b9148588-e694-4445-9765-2c9aad6149ce" providerId="ADAL" clId="{F798D4AA-0E14-EB43-9CA0-DC099737DEE1}" dt="2023-11-19T18:36:57.800" v="3155" actId="164"/>
          <ac:grpSpMkLst>
            <pc:docMk/>
            <pc:sldMk cId="1362902179" sldId="2147309849"/>
            <ac:grpSpMk id="35" creationId="{779879E7-5F3C-E371-C5FB-BE48B3247695}"/>
          </ac:grpSpMkLst>
        </pc:grpChg>
        <pc:grpChg chg="add">
          <ac:chgData name="Kau, Derchang" userId="b9148588-e694-4445-9765-2c9aad6149ce" providerId="ADAL" clId="{F798D4AA-0E14-EB43-9CA0-DC099737DEE1}" dt="2023-11-19T18:37:11.385" v="3156" actId="164"/>
          <ac:grpSpMkLst>
            <pc:docMk/>
            <pc:sldMk cId="1362902179" sldId="2147309849"/>
            <ac:grpSpMk id="36" creationId="{47355208-C93B-3BEF-3732-C165E5282F55}"/>
          </ac:grpSpMkLst>
        </pc:grpChg>
        <pc:grpChg chg="add">
          <ac:chgData name="Kau, Derchang" userId="b9148588-e694-4445-9765-2c9aad6149ce" providerId="ADAL" clId="{F798D4AA-0E14-EB43-9CA0-DC099737DEE1}" dt="2023-11-19T18:37:17.815" v="3157" actId="164"/>
          <ac:grpSpMkLst>
            <pc:docMk/>
            <pc:sldMk cId="1362902179" sldId="2147309849"/>
            <ac:grpSpMk id="37" creationId="{1A8B8513-B7B5-624C-1BED-07A0BFC81BBD}"/>
          </ac:grpSpMkLst>
        </pc:grpChg>
        <pc:grpChg chg="add">
          <ac:chgData name="Kau, Derchang" userId="b9148588-e694-4445-9765-2c9aad6149ce" providerId="ADAL" clId="{F798D4AA-0E14-EB43-9CA0-DC099737DEE1}" dt="2023-11-19T18:37:22.320" v="3158" actId="164"/>
          <ac:grpSpMkLst>
            <pc:docMk/>
            <pc:sldMk cId="1362902179" sldId="2147309849"/>
            <ac:grpSpMk id="38" creationId="{88DFFAA2-7151-28AB-D387-90C11A49EE06}"/>
          </ac:grpSpMkLst>
        </pc:grpChg>
        <pc:grpChg chg="add">
          <ac:chgData name="Kau, Derchang" userId="b9148588-e694-4445-9765-2c9aad6149ce" providerId="ADAL" clId="{F798D4AA-0E14-EB43-9CA0-DC099737DEE1}" dt="2023-11-19T18:48:50.630" v="3173" actId="164"/>
          <ac:grpSpMkLst>
            <pc:docMk/>
            <pc:sldMk cId="1362902179" sldId="2147309849"/>
            <ac:grpSpMk id="40" creationId="{4939040F-49D3-ECD7-A066-5BA3A459E3CF}"/>
          </ac:grpSpMkLst>
        </pc:grpChg>
        <pc:grpChg chg="add del mod">
          <ac:chgData name="Kau, Derchang" userId="b9148588-e694-4445-9765-2c9aad6149ce" providerId="ADAL" clId="{F798D4AA-0E14-EB43-9CA0-DC099737DEE1}" dt="2023-11-19T19:05:10.428" v="3313" actId="165"/>
          <ac:grpSpMkLst>
            <pc:docMk/>
            <pc:sldMk cId="1362902179" sldId="2147309849"/>
            <ac:grpSpMk id="41" creationId="{99B5EA9B-4083-9212-B3FE-CA604CB66C60}"/>
          </ac:grpSpMkLst>
        </pc:grpChg>
        <pc:grpChg chg="add del">
          <ac:chgData name="Kau, Derchang" userId="b9148588-e694-4445-9765-2c9aad6149ce" providerId="ADAL" clId="{F798D4AA-0E14-EB43-9CA0-DC099737DEE1}" dt="2023-11-19T20:55:43.498" v="3352" actId="165"/>
          <ac:grpSpMkLst>
            <pc:docMk/>
            <pc:sldMk cId="1362902179" sldId="2147309849"/>
            <ac:grpSpMk id="43" creationId="{E33A4885-3A34-E5B1-E7A3-43CC6D83F90B}"/>
          </ac:grpSpMkLst>
        </pc:grpChg>
        <pc:grpChg chg="add">
          <ac:chgData name="Kau, Derchang" userId="b9148588-e694-4445-9765-2c9aad6149ce" providerId="ADAL" clId="{F798D4AA-0E14-EB43-9CA0-DC099737DEE1}" dt="2023-11-19T20:55:57.747" v="3353" actId="164"/>
          <ac:grpSpMkLst>
            <pc:docMk/>
            <pc:sldMk cId="1362902179" sldId="2147309849"/>
            <ac:grpSpMk id="45" creationId="{8F431989-C947-18F6-88BC-4675D435C1E3}"/>
          </ac:grpSpMkLst>
        </pc:grpChg>
        <pc:picChg chg="add del mod">
          <ac:chgData name="Kau, Derchang" userId="b9148588-e694-4445-9765-2c9aad6149ce" providerId="ADAL" clId="{F798D4AA-0E14-EB43-9CA0-DC099737DEE1}" dt="2023-11-19T17:48:44.672" v="2621" actId="478"/>
          <ac:picMkLst>
            <pc:docMk/>
            <pc:sldMk cId="1362902179" sldId="2147309849"/>
            <ac:picMk id="9" creationId="{50A7C1B0-B83A-D9EC-EBDD-E9794FD56B7C}"/>
          </ac:picMkLst>
        </pc:picChg>
        <pc:picChg chg="add del mod">
          <ac:chgData name="Kau, Derchang" userId="b9148588-e694-4445-9765-2c9aad6149ce" providerId="ADAL" clId="{F798D4AA-0E14-EB43-9CA0-DC099737DEE1}" dt="2023-11-19T17:48:01.100" v="2618"/>
          <ac:picMkLst>
            <pc:docMk/>
            <pc:sldMk cId="1362902179" sldId="2147309849"/>
            <ac:picMk id="14" creationId="{F52EB1DC-AD72-EE16-6F08-E263359A8346}"/>
          </ac:picMkLst>
        </pc:picChg>
        <pc:picChg chg="add mod">
          <ac:chgData name="Kau, Derchang" userId="b9148588-e694-4445-9765-2c9aad6149ce" providerId="ADAL" clId="{F798D4AA-0E14-EB43-9CA0-DC099737DEE1}" dt="2023-11-19T18:02:35.287" v="2783" actId="14100"/>
          <ac:picMkLst>
            <pc:docMk/>
            <pc:sldMk cId="1362902179" sldId="2147309849"/>
            <ac:picMk id="15" creationId="{B1730295-B683-0D14-DD75-1B81A4AE972B}"/>
          </ac:picMkLst>
        </pc:picChg>
        <pc:picChg chg="add mod topLvl">
          <ac:chgData name="Kau, Derchang" userId="b9148588-e694-4445-9765-2c9aad6149ce" providerId="ADAL" clId="{F798D4AA-0E14-EB43-9CA0-DC099737DEE1}" dt="2023-11-19T20:55:43.498" v="3352" actId="165"/>
          <ac:picMkLst>
            <pc:docMk/>
            <pc:sldMk cId="1362902179" sldId="2147309849"/>
            <ac:picMk id="1026" creationId="{EA172EB6-7933-DBF4-C08A-9A54A72C6953}"/>
          </ac:picMkLst>
        </pc:picChg>
        <pc:picChg chg="add mod topLvl">
          <ac:chgData name="Kau, Derchang" userId="b9148588-e694-4445-9765-2c9aad6149ce" providerId="ADAL" clId="{F798D4AA-0E14-EB43-9CA0-DC099737DEE1}" dt="2023-11-19T20:55:43.498" v="3352" actId="165"/>
          <ac:picMkLst>
            <pc:docMk/>
            <pc:sldMk cId="1362902179" sldId="2147309849"/>
            <ac:picMk id="1028" creationId="{B898341A-24B2-7D91-7631-86DD406F1AB8}"/>
          </ac:picMkLst>
        </pc:picChg>
      </pc:sldChg>
      <pc:sldChg chg="modSp new mod ord modClrScheme chgLayout">
        <pc:chgData name="Kau, Derchang" userId="b9148588-e694-4445-9765-2c9aad6149ce" providerId="ADAL" clId="{F798D4AA-0E14-EB43-9CA0-DC099737DEE1}" dt="2023-11-27T21:07:07.811" v="8402"/>
        <pc:sldMkLst>
          <pc:docMk/>
          <pc:sldMk cId="33775212" sldId="2147309850"/>
        </pc:sldMkLst>
        <pc:spChg chg="mod ord">
          <ac:chgData name="Kau, Derchang" userId="b9148588-e694-4445-9765-2c9aad6149ce" providerId="ADAL" clId="{F798D4AA-0E14-EB43-9CA0-DC099737DEE1}" dt="2023-11-27T21:07:07.811" v="8402"/>
          <ac:spMkLst>
            <pc:docMk/>
            <pc:sldMk cId="33775212" sldId="2147309850"/>
            <ac:spMk id="2" creationId="{151ABABF-1912-AD4E-BC45-28EAE79AEEA0}"/>
          </ac:spMkLst>
        </pc:spChg>
        <pc:spChg chg="mod ord">
          <ac:chgData name="Kau, Derchang" userId="b9148588-e694-4445-9765-2c9aad6149ce" providerId="ADAL" clId="{F798D4AA-0E14-EB43-9CA0-DC099737DEE1}" dt="2023-11-21T05:34:55.318" v="5902" actId="404"/>
          <ac:spMkLst>
            <pc:docMk/>
            <pc:sldMk cId="33775212" sldId="2147309850"/>
            <ac:spMk id="3" creationId="{BD61A205-E58C-1251-9045-43E75AB05619}"/>
          </ac:spMkLst>
        </pc:spChg>
      </pc:sldChg>
      <pc:sldChg chg="addSp delSp modSp new mod modAnim">
        <pc:chgData name="Kau, Derchang" userId="b9148588-e694-4445-9765-2c9aad6149ce" providerId="ADAL" clId="{F798D4AA-0E14-EB43-9CA0-DC099737DEE1}" dt="2023-11-28T06:44:27.312" v="9166" actId="20577"/>
        <pc:sldMkLst>
          <pc:docMk/>
          <pc:sldMk cId="2616025369" sldId="2147309851"/>
        </pc:sldMkLst>
        <pc:spChg chg="mod">
          <ac:chgData name="Kau, Derchang" userId="b9148588-e694-4445-9765-2c9aad6149ce" providerId="ADAL" clId="{F798D4AA-0E14-EB43-9CA0-DC099737DEE1}" dt="2023-11-20T18:27:39.984" v="3813" actId="20577"/>
          <ac:spMkLst>
            <pc:docMk/>
            <pc:sldMk cId="2616025369" sldId="2147309851"/>
            <ac:spMk id="2" creationId="{64B34EFE-060A-4E45-04BB-1DD7C65A93BC}"/>
          </ac:spMkLst>
        </pc:spChg>
        <pc:spChg chg="add del">
          <ac:chgData name="Kau, Derchang" userId="b9148588-e694-4445-9765-2c9aad6149ce" providerId="ADAL" clId="{F798D4AA-0E14-EB43-9CA0-DC099737DEE1}" dt="2023-11-20T17:42:22.766" v="3559" actId="22"/>
          <ac:spMkLst>
            <pc:docMk/>
            <pc:sldMk cId="2616025369" sldId="2147309851"/>
            <ac:spMk id="4" creationId="{D6458A1D-252F-C7B9-B9CE-EAF874BF4631}"/>
          </ac:spMkLst>
        </pc:spChg>
        <pc:spChg chg="add mod">
          <ac:chgData name="Kau, Derchang" userId="b9148588-e694-4445-9765-2c9aad6149ce" providerId="ADAL" clId="{F798D4AA-0E14-EB43-9CA0-DC099737DEE1}" dt="2023-11-20T19:37:06.845" v="3898" actId="14100"/>
          <ac:spMkLst>
            <pc:docMk/>
            <pc:sldMk cId="2616025369" sldId="2147309851"/>
            <ac:spMk id="13" creationId="{7C86B141-9B64-F912-B3F8-121314D6F6CF}"/>
          </ac:spMkLst>
        </pc:spChg>
        <pc:spChg chg="add del mod">
          <ac:chgData name="Kau, Derchang" userId="b9148588-e694-4445-9765-2c9aad6149ce" providerId="ADAL" clId="{F798D4AA-0E14-EB43-9CA0-DC099737DEE1}" dt="2023-11-20T18:24:16.387" v="3804" actId="478"/>
          <ac:spMkLst>
            <pc:docMk/>
            <pc:sldMk cId="2616025369" sldId="2147309851"/>
            <ac:spMk id="14" creationId="{F025132C-7F69-642D-2FC3-49FFC061907D}"/>
          </ac:spMkLst>
        </pc:spChg>
        <pc:spChg chg="add mod">
          <ac:chgData name="Kau, Derchang" userId="b9148588-e694-4445-9765-2c9aad6149ce" providerId="ADAL" clId="{F798D4AA-0E14-EB43-9CA0-DC099737DEE1}" dt="2023-11-20T19:37:23.106" v="3902" actId="1076"/>
          <ac:spMkLst>
            <pc:docMk/>
            <pc:sldMk cId="2616025369" sldId="2147309851"/>
            <ac:spMk id="15" creationId="{C0D8F5D9-B314-FD63-8D9A-04FEC0EEC6FC}"/>
          </ac:spMkLst>
        </pc:spChg>
        <pc:spChg chg="add mod">
          <ac:chgData name="Kau, Derchang" userId="b9148588-e694-4445-9765-2c9aad6149ce" providerId="ADAL" clId="{F798D4AA-0E14-EB43-9CA0-DC099737DEE1}" dt="2023-11-28T06:44:27.312" v="9166" actId="20577"/>
          <ac:spMkLst>
            <pc:docMk/>
            <pc:sldMk cId="2616025369" sldId="2147309851"/>
            <ac:spMk id="16" creationId="{81DF9386-6870-8FB2-B07F-EE8C8A96DBD9}"/>
          </ac:spMkLst>
        </pc:spChg>
        <pc:picChg chg="add mod">
          <ac:chgData name="Kau, Derchang" userId="b9148588-e694-4445-9765-2c9aad6149ce" providerId="ADAL" clId="{F798D4AA-0E14-EB43-9CA0-DC099737DEE1}" dt="2023-11-20T18:14:46.582" v="3722" actId="1076"/>
          <ac:picMkLst>
            <pc:docMk/>
            <pc:sldMk cId="2616025369" sldId="2147309851"/>
            <ac:picMk id="5" creationId="{ECA677B6-303E-9524-68E8-1EC770B4BD85}"/>
          </ac:picMkLst>
        </pc:picChg>
        <pc:picChg chg="add del mod">
          <ac:chgData name="Kau, Derchang" userId="b9148588-e694-4445-9765-2c9aad6149ce" providerId="ADAL" clId="{F798D4AA-0E14-EB43-9CA0-DC099737DEE1}" dt="2023-11-20T17:45:44.925" v="3565"/>
          <ac:picMkLst>
            <pc:docMk/>
            <pc:sldMk cId="2616025369" sldId="2147309851"/>
            <ac:picMk id="6" creationId="{C86EDEFD-561A-B060-43FC-5268C01DD57B}"/>
          </ac:picMkLst>
        </pc:picChg>
        <pc:picChg chg="add mod">
          <ac:chgData name="Kau, Derchang" userId="b9148588-e694-4445-9765-2c9aad6149ce" providerId="ADAL" clId="{F798D4AA-0E14-EB43-9CA0-DC099737DEE1}" dt="2023-11-20T18:14:46.582" v="3722" actId="1076"/>
          <ac:picMkLst>
            <pc:docMk/>
            <pc:sldMk cId="2616025369" sldId="2147309851"/>
            <ac:picMk id="7" creationId="{B558AD2A-BCA3-D8B8-0BED-79E44893CFB0}"/>
          </ac:picMkLst>
        </pc:picChg>
        <pc:picChg chg="add mod">
          <ac:chgData name="Kau, Derchang" userId="b9148588-e694-4445-9765-2c9aad6149ce" providerId="ADAL" clId="{F798D4AA-0E14-EB43-9CA0-DC099737DEE1}" dt="2023-11-20T18:14:46.582" v="3722" actId="1076"/>
          <ac:picMkLst>
            <pc:docMk/>
            <pc:sldMk cId="2616025369" sldId="2147309851"/>
            <ac:picMk id="8" creationId="{D2386F1B-5E77-F3E5-45BF-95A5B49F347E}"/>
          </ac:picMkLst>
        </pc:picChg>
        <pc:picChg chg="add mod modCrop">
          <ac:chgData name="Kau, Derchang" userId="b9148588-e694-4445-9765-2c9aad6149ce" providerId="ADAL" clId="{F798D4AA-0E14-EB43-9CA0-DC099737DEE1}" dt="2023-11-20T19:38:45.101" v="3914" actId="732"/>
          <ac:picMkLst>
            <pc:docMk/>
            <pc:sldMk cId="2616025369" sldId="2147309851"/>
            <ac:picMk id="9" creationId="{6DA863D5-E6AA-F869-D026-D4C6EA22C0F8}"/>
          </ac:picMkLst>
        </pc:picChg>
        <pc:picChg chg="add mod">
          <ac:chgData name="Kau, Derchang" userId="b9148588-e694-4445-9765-2c9aad6149ce" providerId="ADAL" clId="{F798D4AA-0E14-EB43-9CA0-DC099737DEE1}" dt="2023-11-20T19:37:56.288" v="3910" actId="1076"/>
          <ac:picMkLst>
            <pc:docMk/>
            <pc:sldMk cId="2616025369" sldId="2147309851"/>
            <ac:picMk id="10" creationId="{40918BC1-48C4-5AE2-7A9B-4B27D4584099}"/>
          </ac:picMkLst>
        </pc:picChg>
        <pc:cxnChg chg="add mod">
          <ac:chgData name="Kau, Derchang" userId="b9148588-e694-4445-9765-2c9aad6149ce" providerId="ADAL" clId="{F798D4AA-0E14-EB43-9CA0-DC099737DEE1}" dt="2023-11-20T18:15:53.031" v="3730" actId="693"/>
          <ac:cxnSpMkLst>
            <pc:docMk/>
            <pc:sldMk cId="2616025369" sldId="2147309851"/>
            <ac:cxnSpMk id="12" creationId="{1D79E990-CF7E-3D5D-620F-B616F5B6694B}"/>
          </ac:cxnSpMkLst>
        </pc:cxnChg>
      </pc:sldChg>
      <pc:sldChg chg="addSp modSp new mod">
        <pc:chgData name="Kau, Derchang" userId="b9148588-e694-4445-9765-2c9aad6149ce" providerId="ADAL" clId="{F798D4AA-0E14-EB43-9CA0-DC099737DEE1}" dt="2023-11-20T19:02:58.946" v="3882" actId="1035"/>
        <pc:sldMkLst>
          <pc:docMk/>
          <pc:sldMk cId="3671932242" sldId="2147309852"/>
        </pc:sldMkLst>
        <pc:picChg chg="add mod">
          <ac:chgData name="Kau, Derchang" userId="b9148588-e694-4445-9765-2c9aad6149ce" providerId="ADAL" clId="{F798D4AA-0E14-EB43-9CA0-DC099737DEE1}" dt="2023-11-20T19:02:58.946" v="3882" actId="1035"/>
          <ac:picMkLst>
            <pc:docMk/>
            <pc:sldMk cId="3671932242" sldId="2147309852"/>
            <ac:picMk id="2" creationId="{AF038F50-A404-2B5A-A692-D9A4A69A4095}"/>
          </ac:picMkLst>
        </pc:picChg>
      </pc:sldChg>
      <pc:sldChg chg="addSp delSp modSp new mod ord modClrScheme modAnim chgLayout">
        <pc:chgData name="Kau, Derchang" userId="b9148588-e694-4445-9765-2c9aad6149ce" providerId="ADAL" clId="{F798D4AA-0E14-EB43-9CA0-DC099737DEE1}" dt="2023-11-20T21:36:48.607" v="4434" actId="20577"/>
        <pc:sldMkLst>
          <pc:docMk/>
          <pc:sldMk cId="1694494649" sldId="2147309853"/>
        </pc:sldMkLst>
        <pc:spChg chg="mod ord">
          <ac:chgData name="Kau, Derchang" userId="b9148588-e694-4445-9765-2c9aad6149ce" providerId="ADAL" clId="{F798D4AA-0E14-EB43-9CA0-DC099737DEE1}" dt="2023-11-20T21:36:48.607" v="4434" actId="20577"/>
          <ac:spMkLst>
            <pc:docMk/>
            <pc:sldMk cId="1694494649" sldId="2147309853"/>
            <ac:spMk id="2" creationId="{56AFFD59-4CAF-44DB-78FD-880A81078BAB}"/>
          </ac:spMkLst>
        </pc:spChg>
        <pc:spChg chg="del">
          <ac:chgData name="Kau, Derchang" userId="b9148588-e694-4445-9765-2c9aad6149ce" providerId="ADAL" clId="{F798D4AA-0E14-EB43-9CA0-DC099737DEE1}" dt="2023-11-20T20:04:37.722" v="4033" actId="700"/>
          <ac:spMkLst>
            <pc:docMk/>
            <pc:sldMk cId="1694494649" sldId="2147309853"/>
            <ac:spMk id="3" creationId="{FD726676-CB93-C341-0563-7C0BEFD6FC28}"/>
          </ac:spMkLst>
        </pc:spChg>
        <pc:spChg chg="add del mod">
          <ac:chgData name="Kau, Derchang" userId="b9148588-e694-4445-9765-2c9aad6149ce" providerId="ADAL" clId="{F798D4AA-0E14-EB43-9CA0-DC099737DEE1}" dt="2023-11-20T21:02:13.891" v="4236" actId="478"/>
          <ac:spMkLst>
            <pc:docMk/>
            <pc:sldMk cId="1694494649" sldId="2147309853"/>
            <ac:spMk id="7" creationId="{C113AD30-7122-E402-500B-A23D97CE61F6}"/>
          </ac:spMkLst>
        </pc:spChg>
        <pc:graphicFrameChg chg="add mod modGraphic">
          <ac:chgData name="Kau, Derchang" userId="b9148588-e694-4445-9765-2c9aad6149ce" providerId="ADAL" clId="{F798D4AA-0E14-EB43-9CA0-DC099737DEE1}" dt="2023-11-20T21:04:19.643" v="4256" actId="1076"/>
          <ac:graphicFrameMkLst>
            <pc:docMk/>
            <pc:sldMk cId="1694494649" sldId="2147309853"/>
            <ac:graphicFrameMk id="8" creationId="{AD35C20C-9009-66F4-7AA2-EFECA4B606D9}"/>
          </ac:graphicFrameMkLst>
        </pc:graphicFrameChg>
        <pc:picChg chg="add mod">
          <ac:chgData name="Kau, Derchang" userId="b9148588-e694-4445-9765-2c9aad6149ce" providerId="ADAL" clId="{F798D4AA-0E14-EB43-9CA0-DC099737DEE1}" dt="2023-11-20T21:19:45.051" v="4317" actId="1076"/>
          <ac:picMkLst>
            <pc:docMk/>
            <pc:sldMk cId="1694494649" sldId="2147309853"/>
            <ac:picMk id="4" creationId="{57CC1BD2-558C-59DC-DA2E-3F0A013B2D54}"/>
          </ac:picMkLst>
        </pc:picChg>
        <pc:picChg chg="add mod">
          <ac:chgData name="Kau, Derchang" userId="b9148588-e694-4445-9765-2c9aad6149ce" providerId="ADAL" clId="{F798D4AA-0E14-EB43-9CA0-DC099737DEE1}" dt="2023-11-20T21:20:25.128" v="4320" actId="1076"/>
          <ac:picMkLst>
            <pc:docMk/>
            <pc:sldMk cId="1694494649" sldId="2147309853"/>
            <ac:picMk id="5" creationId="{8F3EA7C6-E5A4-7A7D-C6A8-66F33949305E}"/>
          </ac:picMkLst>
        </pc:picChg>
        <pc:picChg chg="add mod">
          <ac:chgData name="Kau, Derchang" userId="b9148588-e694-4445-9765-2c9aad6149ce" providerId="ADAL" clId="{F798D4AA-0E14-EB43-9CA0-DC099737DEE1}" dt="2023-11-20T20:54:31.139" v="4061" actId="1076"/>
          <ac:picMkLst>
            <pc:docMk/>
            <pc:sldMk cId="1694494649" sldId="2147309853"/>
            <ac:picMk id="6" creationId="{64A96A67-4410-876A-44BF-6537ADC6102B}"/>
          </ac:picMkLst>
        </pc:picChg>
        <pc:picChg chg="add mod">
          <ac:chgData name="Kau, Derchang" userId="b9148588-e694-4445-9765-2c9aad6149ce" providerId="ADAL" clId="{F798D4AA-0E14-EB43-9CA0-DC099737DEE1}" dt="2023-11-20T21:11:24.614" v="4276" actId="1076"/>
          <ac:picMkLst>
            <pc:docMk/>
            <pc:sldMk cId="1694494649" sldId="2147309853"/>
            <ac:picMk id="9" creationId="{D093155B-8927-B6F3-B2B2-83F4D8A05906}"/>
          </ac:picMkLst>
        </pc:picChg>
        <pc:picChg chg="add mod">
          <ac:chgData name="Kau, Derchang" userId="b9148588-e694-4445-9765-2c9aad6149ce" providerId="ADAL" clId="{F798D4AA-0E14-EB43-9CA0-DC099737DEE1}" dt="2023-11-20T21:19:55.311" v="4318" actId="166"/>
          <ac:picMkLst>
            <pc:docMk/>
            <pc:sldMk cId="1694494649" sldId="2147309853"/>
            <ac:picMk id="10" creationId="{92B3EA01-8DD3-A51D-BF2B-7B3F15B9A26B}"/>
          </ac:picMkLst>
        </pc:picChg>
        <pc:picChg chg="add mod">
          <ac:chgData name="Kau, Derchang" userId="b9148588-e694-4445-9765-2c9aad6149ce" providerId="ADAL" clId="{F798D4AA-0E14-EB43-9CA0-DC099737DEE1}" dt="2023-11-20T21:18:05.476" v="4310" actId="167"/>
          <ac:picMkLst>
            <pc:docMk/>
            <pc:sldMk cId="1694494649" sldId="2147309853"/>
            <ac:picMk id="11" creationId="{1DDF0D5A-9945-A26F-33D0-A6714D78F644}"/>
          </ac:picMkLst>
        </pc:picChg>
        <pc:picChg chg="add mod">
          <ac:chgData name="Kau, Derchang" userId="b9148588-e694-4445-9765-2c9aad6149ce" providerId="ADAL" clId="{F798D4AA-0E14-EB43-9CA0-DC099737DEE1}" dt="2023-11-20T21:21:52.107" v="4336" actId="1037"/>
          <ac:picMkLst>
            <pc:docMk/>
            <pc:sldMk cId="1694494649" sldId="2147309853"/>
            <ac:picMk id="12" creationId="{1AEC20FA-0669-CB26-1383-44263BFF4982}"/>
          </ac:picMkLst>
        </pc:picChg>
      </pc:sldChg>
      <pc:sldChg chg="addSp delSp modSp add del mod delAnim modAnim">
        <pc:chgData name="Kau, Derchang" userId="b9148588-e694-4445-9765-2c9aad6149ce" providerId="ADAL" clId="{F798D4AA-0E14-EB43-9CA0-DC099737DEE1}" dt="2023-11-20T21:23:20.059" v="4339" actId="2696"/>
        <pc:sldMkLst>
          <pc:docMk/>
          <pc:sldMk cId="1687885644" sldId="2147309854"/>
        </pc:sldMkLst>
        <pc:graphicFrameChg chg="del">
          <ac:chgData name="Kau, Derchang" userId="b9148588-e694-4445-9765-2c9aad6149ce" providerId="ADAL" clId="{F798D4AA-0E14-EB43-9CA0-DC099737DEE1}" dt="2023-11-20T21:15:32.518" v="4298" actId="478"/>
          <ac:graphicFrameMkLst>
            <pc:docMk/>
            <pc:sldMk cId="1687885644" sldId="2147309854"/>
            <ac:graphicFrameMk id="8" creationId="{AD35C20C-9009-66F4-7AA2-EFECA4B606D9}"/>
          </ac:graphicFrameMkLst>
        </pc:graphicFrameChg>
        <pc:picChg chg="add mod">
          <ac:chgData name="Kau, Derchang" userId="b9148588-e694-4445-9765-2c9aad6149ce" providerId="ADAL" clId="{F798D4AA-0E14-EB43-9CA0-DC099737DEE1}" dt="2023-11-20T21:17:03.760" v="4306" actId="14100"/>
          <ac:picMkLst>
            <pc:docMk/>
            <pc:sldMk cId="1687885644" sldId="2147309854"/>
            <ac:picMk id="3" creationId="{99EC1E72-A898-C4C5-E510-248297C65EEA}"/>
          </ac:picMkLst>
        </pc:picChg>
        <pc:picChg chg="del">
          <ac:chgData name="Kau, Derchang" userId="b9148588-e694-4445-9765-2c9aad6149ce" providerId="ADAL" clId="{F798D4AA-0E14-EB43-9CA0-DC099737DEE1}" dt="2023-11-20T21:15:29.294" v="4297" actId="478"/>
          <ac:picMkLst>
            <pc:docMk/>
            <pc:sldMk cId="1687885644" sldId="2147309854"/>
            <ac:picMk id="6" creationId="{64A96A67-4410-876A-44BF-6537ADC6102B}"/>
          </ac:picMkLst>
        </pc:picChg>
        <pc:picChg chg="add mod">
          <ac:chgData name="Kau, Derchang" userId="b9148588-e694-4445-9765-2c9aad6149ce" providerId="ADAL" clId="{F798D4AA-0E14-EB43-9CA0-DC099737DEE1}" dt="2023-11-20T21:17:06.930" v="4307" actId="1076"/>
          <ac:picMkLst>
            <pc:docMk/>
            <pc:sldMk cId="1687885644" sldId="2147309854"/>
            <ac:picMk id="7" creationId="{74E69E0F-6E31-5CC9-BD8E-DBEC8ACDFC29}"/>
          </ac:picMkLst>
        </pc:picChg>
        <pc:picChg chg="del">
          <ac:chgData name="Kau, Derchang" userId="b9148588-e694-4445-9765-2c9aad6149ce" providerId="ADAL" clId="{F798D4AA-0E14-EB43-9CA0-DC099737DEE1}" dt="2023-11-20T21:15:27.465" v="4296" actId="478"/>
          <ac:picMkLst>
            <pc:docMk/>
            <pc:sldMk cId="1687885644" sldId="2147309854"/>
            <ac:picMk id="9" creationId="{D093155B-8927-B6F3-B2B2-83F4D8A05906}"/>
          </ac:picMkLst>
        </pc:picChg>
        <pc:picChg chg="del">
          <ac:chgData name="Kau, Derchang" userId="b9148588-e694-4445-9765-2c9aad6149ce" providerId="ADAL" clId="{F798D4AA-0E14-EB43-9CA0-DC099737DEE1}" dt="2023-11-20T21:15:25.896" v="4295" actId="478"/>
          <ac:picMkLst>
            <pc:docMk/>
            <pc:sldMk cId="1687885644" sldId="2147309854"/>
            <ac:picMk id="10" creationId="{92B3EA01-8DD3-A51D-BF2B-7B3F15B9A26B}"/>
          </ac:picMkLst>
        </pc:picChg>
      </pc:sldChg>
      <pc:sldChg chg="addSp modSp new mod">
        <pc:chgData name="Kau, Derchang" userId="b9148588-e694-4445-9765-2c9aad6149ce" providerId="ADAL" clId="{F798D4AA-0E14-EB43-9CA0-DC099737DEE1}" dt="2023-11-22T01:53:10.839" v="7378" actId="20577"/>
        <pc:sldMkLst>
          <pc:docMk/>
          <pc:sldMk cId="3928458971" sldId="2147309854"/>
        </pc:sldMkLst>
        <pc:spChg chg="mod">
          <ac:chgData name="Kau, Derchang" userId="b9148588-e694-4445-9765-2c9aad6149ce" providerId="ADAL" clId="{F798D4AA-0E14-EB43-9CA0-DC099737DEE1}" dt="2023-11-20T22:19:26.918" v="4848" actId="20577"/>
          <ac:spMkLst>
            <pc:docMk/>
            <pc:sldMk cId="3928458971" sldId="2147309854"/>
            <ac:spMk id="2" creationId="{83B2ED60-C8E5-AD09-331A-1CA66896E0AE}"/>
          </ac:spMkLst>
        </pc:spChg>
        <pc:spChg chg="add mod">
          <ac:chgData name="Kau, Derchang" userId="b9148588-e694-4445-9765-2c9aad6149ce" providerId="ADAL" clId="{F798D4AA-0E14-EB43-9CA0-DC099737DEE1}" dt="2023-11-22T01:52:52.174" v="7346" actId="20577"/>
          <ac:spMkLst>
            <pc:docMk/>
            <pc:sldMk cId="3928458971" sldId="2147309854"/>
            <ac:spMk id="6" creationId="{861056F2-D4AD-2EA1-69BE-1E8CA216DE65}"/>
          </ac:spMkLst>
        </pc:spChg>
        <pc:spChg chg="add mod">
          <ac:chgData name="Kau, Derchang" userId="b9148588-e694-4445-9765-2c9aad6149ce" providerId="ADAL" clId="{F798D4AA-0E14-EB43-9CA0-DC099737DEE1}" dt="2023-11-22T01:53:10.839" v="7378" actId="20577"/>
          <ac:spMkLst>
            <pc:docMk/>
            <pc:sldMk cId="3928458971" sldId="2147309854"/>
            <ac:spMk id="8" creationId="{59BB0EB1-8654-A02F-A799-A6ED2BE7B6A0}"/>
          </ac:spMkLst>
        </pc:spChg>
        <pc:picChg chg="add mod">
          <ac:chgData name="Kau, Derchang" userId="b9148588-e694-4445-9765-2c9aad6149ce" providerId="ADAL" clId="{F798D4AA-0E14-EB43-9CA0-DC099737DEE1}" dt="2023-11-22T01:47:49.617" v="7271" actId="1076"/>
          <ac:picMkLst>
            <pc:docMk/>
            <pc:sldMk cId="3928458971" sldId="2147309854"/>
            <ac:picMk id="3" creationId="{AA81FD23-070A-9DB0-504E-A6E1FA3D00E3}"/>
          </ac:picMkLst>
        </pc:picChg>
        <pc:picChg chg="add mod">
          <ac:chgData name="Kau, Derchang" userId="b9148588-e694-4445-9765-2c9aad6149ce" providerId="ADAL" clId="{F798D4AA-0E14-EB43-9CA0-DC099737DEE1}" dt="2023-11-22T01:51:27.573" v="7311" actId="1076"/>
          <ac:picMkLst>
            <pc:docMk/>
            <pc:sldMk cId="3928458971" sldId="2147309854"/>
            <ac:picMk id="4" creationId="{96809CB4-7215-19FA-2CDB-F6801BF99E86}"/>
          </ac:picMkLst>
        </pc:picChg>
        <pc:picChg chg="add mod">
          <ac:chgData name="Kau, Derchang" userId="b9148588-e694-4445-9765-2c9aad6149ce" providerId="ADAL" clId="{F798D4AA-0E14-EB43-9CA0-DC099737DEE1}" dt="2023-11-22T01:48:03.442" v="7275" actId="1076"/>
          <ac:picMkLst>
            <pc:docMk/>
            <pc:sldMk cId="3928458971" sldId="2147309854"/>
            <ac:picMk id="1026" creationId="{2CC7B4F2-1B63-314E-7D64-AEC9F504E4D9}"/>
          </ac:picMkLst>
        </pc:picChg>
        <pc:picChg chg="add mod">
          <ac:chgData name="Kau, Derchang" userId="b9148588-e694-4445-9765-2c9aad6149ce" providerId="ADAL" clId="{F798D4AA-0E14-EB43-9CA0-DC099737DEE1}" dt="2023-11-22T01:51:39.248" v="7312" actId="1076"/>
          <ac:picMkLst>
            <pc:docMk/>
            <pc:sldMk cId="3928458971" sldId="2147309854"/>
            <ac:picMk id="1028" creationId="{3ABC51F5-D3BA-3741-5D1A-6CA2E0313EDD}"/>
          </ac:picMkLst>
        </pc:picChg>
        <pc:picChg chg="add mod">
          <ac:chgData name="Kau, Derchang" userId="b9148588-e694-4445-9765-2c9aad6149ce" providerId="ADAL" clId="{F798D4AA-0E14-EB43-9CA0-DC099737DEE1}" dt="2023-11-22T01:47:47.741" v="7270" actId="1076"/>
          <ac:picMkLst>
            <pc:docMk/>
            <pc:sldMk cId="3928458971" sldId="2147309854"/>
            <ac:picMk id="3074" creationId="{909D2DBD-91B0-7D63-9A54-E23327ECFAA0}"/>
          </ac:picMkLst>
        </pc:picChg>
      </pc:sldChg>
      <pc:sldChg chg="addSp delSp modSp new mod modAnim">
        <pc:chgData name="Kau, Derchang" userId="b9148588-e694-4445-9765-2c9aad6149ce" providerId="ADAL" clId="{F798D4AA-0E14-EB43-9CA0-DC099737DEE1}" dt="2023-11-21T10:40:13.869" v="7202" actId="20577"/>
        <pc:sldMkLst>
          <pc:docMk/>
          <pc:sldMk cId="3559694082" sldId="2147309855"/>
        </pc:sldMkLst>
        <pc:spChg chg="mod">
          <ac:chgData name="Kau, Derchang" userId="b9148588-e694-4445-9765-2c9aad6149ce" providerId="ADAL" clId="{F798D4AA-0E14-EB43-9CA0-DC099737DEE1}" dt="2023-11-21T10:40:13.869" v="7202" actId="20577"/>
          <ac:spMkLst>
            <pc:docMk/>
            <pc:sldMk cId="3559694082" sldId="2147309855"/>
            <ac:spMk id="2" creationId="{A018CC43-5104-13AC-3DEC-C14B148C06D6}"/>
          </ac:spMkLst>
        </pc:spChg>
        <pc:spChg chg="mod">
          <ac:chgData name="Kau, Derchang" userId="b9148588-e694-4445-9765-2c9aad6149ce" providerId="ADAL" clId="{F798D4AA-0E14-EB43-9CA0-DC099737DEE1}" dt="2023-11-21T04:32:14.686" v="5373" actId="57"/>
          <ac:spMkLst>
            <pc:docMk/>
            <pc:sldMk cId="3559694082" sldId="2147309855"/>
            <ac:spMk id="9" creationId="{8B23601D-00E8-025D-80B0-EEA467D6779F}"/>
          </ac:spMkLst>
        </pc:spChg>
        <pc:spChg chg="mod">
          <ac:chgData name="Kau, Derchang" userId="b9148588-e694-4445-9765-2c9aad6149ce" providerId="ADAL" clId="{F798D4AA-0E14-EB43-9CA0-DC099737DEE1}" dt="2023-11-21T04:41:24.670" v="5484" actId="3064"/>
          <ac:spMkLst>
            <pc:docMk/>
            <pc:sldMk cId="3559694082" sldId="2147309855"/>
            <ac:spMk id="12" creationId="{B7EC6E75-C79C-0658-6B6F-B19BBAE5FFF4}"/>
          </ac:spMkLst>
        </pc:spChg>
        <pc:spChg chg="add del mod">
          <ac:chgData name="Kau, Derchang" userId="b9148588-e694-4445-9765-2c9aad6149ce" providerId="ADAL" clId="{F798D4AA-0E14-EB43-9CA0-DC099737DEE1}" dt="2023-11-21T04:50:28.836" v="5606" actId="478"/>
          <ac:spMkLst>
            <pc:docMk/>
            <pc:sldMk cId="3559694082" sldId="2147309855"/>
            <ac:spMk id="13" creationId="{958564BE-ABB7-2269-9C7A-05A60162F9AA}"/>
          </ac:spMkLst>
        </pc:spChg>
        <pc:spChg chg="mod">
          <ac:chgData name="Kau, Derchang" userId="b9148588-e694-4445-9765-2c9aad6149ce" providerId="ADAL" clId="{F798D4AA-0E14-EB43-9CA0-DC099737DEE1}" dt="2023-11-21T04:23:48.728" v="5210" actId="404"/>
          <ac:spMkLst>
            <pc:docMk/>
            <pc:sldMk cId="3559694082" sldId="2147309855"/>
            <ac:spMk id="17" creationId="{D7C96753-AB04-41B8-E2AD-EBB70B2B3BFA}"/>
          </ac:spMkLst>
        </pc:spChg>
        <pc:spChg chg="mod">
          <ac:chgData name="Kau, Derchang" userId="b9148588-e694-4445-9765-2c9aad6149ce" providerId="ADAL" clId="{F798D4AA-0E14-EB43-9CA0-DC099737DEE1}" dt="2023-11-21T04:23:48.728" v="5210" actId="404"/>
          <ac:spMkLst>
            <pc:docMk/>
            <pc:sldMk cId="3559694082" sldId="2147309855"/>
            <ac:spMk id="18" creationId="{BCD7EDA9-2ABA-3989-5C5D-77B4FF754557}"/>
          </ac:spMkLst>
        </pc:spChg>
        <pc:spChg chg="mod">
          <ac:chgData name="Kau, Derchang" userId="b9148588-e694-4445-9765-2c9aad6149ce" providerId="ADAL" clId="{F798D4AA-0E14-EB43-9CA0-DC099737DEE1}" dt="2023-11-21T04:23:48.728" v="5210" actId="404"/>
          <ac:spMkLst>
            <pc:docMk/>
            <pc:sldMk cId="3559694082" sldId="2147309855"/>
            <ac:spMk id="19" creationId="{97F2F580-F1AB-B0EA-CDEF-5F38B1887895}"/>
          </ac:spMkLst>
        </pc:spChg>
        <pc:spChg chg="mod">
          <ac:chgData name="Kau, Derchang" userId="b9148588-e694-4445-9765-2c9aad6149ce" providerId="ADAL" clId="{F798D4AA-0E14-EB43-9CA0-DC099737DEE1}" dt="2023-11-21T04:23:48.728" v="5210" actId="404"/>
          <ac:spMkLst>
            <pc:docMk/>
            <pc:sldMk cId="3559694082" sldId="2147309855"/>
            <ac:spMk id="20" creationId="{E9DC5B8C-A86D-3796-0FBD-F1BE34A3F97A}"/>
          </ac:spMkLst>
        </pc:spChg>
        <pc:spChg chg="del mod">
          <ac:chgData name="Kau, Derchang" userId="b9148588-e694-4445-9765-2c9aad6149ce" providerId="ADAL" clId="{F798D4AA-0E14-EB43-9CA0-DC099737DEE1}" dt="2023-11-21T04:44:59.524" v="5505" actId="478"/>
          <ac:spMkLst>
            <pc:docMk/>
            <pc:sldMk cId="3559694082" sldId="2147309855"/>
            <ac:spMk id="21" creationId="{A67838B7-C8D1-741D-385C-968BA3460042}"/>
          </ac:spMkLst>
        </pc:spChg>
        <pc:spChg chg="del mod">
          <ac:chgData name="Kau, Derchang" userId="b9148588-e694-4445-9765-2c9aad6149ce" providerId="ADAL" clId="{F798D4AA-0E14-EB43-9CA0-DC099737DEE1}" dt="2023-11-21T04:44:57.057" v="5504" actId="478"/>
          <ac:spMkLst>
            <pc:docMk/>
            <pc:sldMk cId="3559694082" sldId="2147309855"/>
            <ac:spMk id="22" creationId="{38A450FD-B8A3-4B6B-90B0-1C518CC74938}"/>
          </ac:spMkLst>
        </pc:spChg>
        <pc:spChg chg="mod">
          <ac:chgData name="Kau, Derchang" userId="b9148588-e694-4445-9765-2c9aad6149ce" providerId="ADAL" clId="{F798D4AA-0E14-EB43-9CA0-DC099737DEE1}" dt="2023-11-21T04:23:48.728" v="5210" actId="404"/>
          <ac:spMkLst>
            <pc:docMk/>
            <pc:sldMk cId="3559694082" sldId="2147309855"/>
            <ac:spMk id="23" creationId="{04C2B475-A787-C8EA-E43A-3B5BA7512DED}"/>
          </ac:spMkLst>
        </pc:spChg>
        <pc:spChg chg="del mod">
          <ac:chgData name="Kau, Derchang" userId="b9148588-e694-4445-9765-2c9aad6149ce" providerId="ADAL" clId="{F798D4AA-0E14-EB43-9CA0-DC099737DEE1}" dt="2023-11-21T04:45:01.886" v="5506" actId="478"/>
          <ac:spMkLst>
            <pc:docMk/>
            <pc:sldMk cId="3559694082" sldId="2147309855"/>
            <ac:spMk id="24" creationId="{39F20F7C-0F48-940C-7918-9EFF432A0988}"/>
          </ac:spMkLst>
        </pc:spChg>
        <pc:spChg chg="mod">
          <ac:chgData name="Kau, Derchang" userId="b9148588-e694-4445-9765-2c9aad6149ce" providerId="ADAL" clId="{F798D4AA-0E14-EB43-9CA0-DC099737DEE1}" dt="2023-11-21T04:23:48.728" v="5210" actId="404"/>
          <ac:spMkLst>
            <pc:docMk/>
            <pc:sldMk cId="3559694082" sldId="2147309855"/>
            <ac:spMk id="30" creationId="{8A23464A-6040-10FB-2D67-3E91830E6769}"/>
          </ac:spMkLst>
        </pc:spChg>
        <pc:spChg chg="mod">
          <ac:chgData name="Kau, Derchang" userId="b9148588-e694-4445-9765-2c9aad6149ce" providerId="ADAL" clId="{F798D4AA-0E14-EB43-9CA0-DC099737DEE1}" dt="2023-11-21T04:23:48.728" v="5210" actId="404"/>
          <ac:spMkLst>
            <pc:docMk/>
            <pc:sldMk cId="3559694082" sldId="2147309855"/>
            <ac:spMk id="31" creationId="{257530CA-377C-B566-C93B-16EB5C851FF2}"/>
          </ac:spMkLst>
        </pc:spChg>
        <pc:spChg chg="mod">
          <ac:chgData name="Kau, Derchang" userId="b9148588-e694-4445-9765-2c9aad6149ce" providerId="ADAL" clId="{F798D4AA-0E14-EB43-9CA0-DC099737DEE1}" dt="2023-11-21T04:23:48.728" v="5210" actId="404"/>
          <ac:spMkLst>
            <pc:docMk/>
            <pc:sldMk cId="3559694082" sldId="2147309855"/>
            <ac:spMk id="32" creationId="{F4AA1972-8F75-EF32-D95B-A5BF46D28307}"/>
          </ac:spMkLst>
        </pc:spChg>
        <pc:spChg chg="mod">
          <ac:chgData name="Kau, Derchang" userId="b9148588-e694-4445-9765-2c9aad6149ce" providerId="ADAL" clId="{F798D4AA-0E14-EB43-9CA0-DC099737DEE1}" dt="2023-11-21T04:23:48.728" v="5210" actId="404"/>
          <ac:spMkLst>
            <pc:docMk/>
            <pc:sldMk cId="3559694082" sldId="2147309855"/>
            <ac:spMk id="33" creationId="{25B11B49-1F4B-8CD6-9238-057881025BF7}"/>
          </ac:spMkLst>
        </pc:spChg>
        <pc:spChg chg="mod">
          <ac:chgData name="Kau, Derchang" userId="b9148588-e694-4445-9765-2c9aad6149ce" providerId="ADAL" clId="{F798D4AA-0E14-EB43-9CA0-DC099737DEE1}" dt="2023-11-21T04:23:48.728" v="5210" actId="404"/>
          <ac:spMkLst>
            <pc:docMk/>
            <pc:sldMk cId="3559694082" sldId="2147309855"/>
            <ac:spMk id="34" creationId="{EF24C2AF-A6B7-A1AF-FDD6-EA55394CB07D}"/>
          </ac:spMkLst>
        </pc:spChg>
        <pc:spChg chg="mod">
          <ac:chgData name="Kau, Derchang" userId="b9148588-e694-4445-9765-2c9aad6149ce" providerId="ADAL" clId="{F798D4AA-0E14-EB43-9CA0-DC099737DEE1}" dt="2023-11-21T04:23:48.728" v="5210" actId="404"/>
          <ac:spMkLst>
            <pc:docMk/>
            <pc:sldMk cId="3559694082" sldId="2147309855"/>
            <ac:spMk id="35" creationId="{274588BD-1EE3-D0AC-2048-F3F4185A4A1F}"/>
          </ac:spMkLst>
        </pc:spChg>
        <pc:spChg chg="mod">
          <ac:chgData name="Kau, Derchang" userId="b9148588-e694-4445-9765-2c9aad6149ce" providerId="ADAL" clId="{F798D4AA-0E14-EB43-9CA0-DC099737DEE1}" dt="2023-11-21T04:23:48.728" v="5210" actId="404"/>
          <ac:spMkLst>
            <pc:docMk/>
            <pc:sldMk cId="3559694082" sldId="2147309855"/>
            <ac:spMk id="36" creationId="{E49BEF1D-9FA1-14AD-1A3E-D75C93C7A36D}"/>
          </ac:spMkLst>
        </pc:spChg>
        <pc:spChg chg="mod">
          <ac:chgData name="Kau, Derchang" userId="b9148588-e694-4445-9765-2c9aad6149ce" providerId="ADAL" clId="{F798D4AA-0E14-EB43-9CA0-DC099737DEE1}" dt="2023-11-21T04:23:48.728" v="5210" actId="404"/>
          <ac:spMkLst>
            <pc:docMk/>
            <pc:sldMk cId="3559694082" sldId="2147309855"/>
            <ac:spMk id="37" creationId="{484D3381-D596-56B1-4FEC-556D8DC50174}"/>
          </ac:spMkLst>
        </pc:spChg>
        <pc:spChg chg="mod">
          <ac:chgData name="Kau, Derchang" userId="b9148588-e694-4445-9765-2c9aad6149ce" providerId="ADAL" clId="{F798D4AA-0E14-EB43-9CA0-DC099737DEE1}" dt="2023-11-21T04:23:48.728" v="5210" actId="404"/>
          <ac:spMkLst>
            <pc:docMk/>
            <pc:sldMk cId="3559694082" sldId="2147309855"/>
            <ac:spMk id="40" creationId="{82AF1BB6-4D3F-23C2-6E3A-208F34B437C9}"/>
          </ac:spMkLst>
        </pc:spChg>
        <pc:spChg chg="mod">
          <ac:chgData name="Kau, Derchang" userId="b9148588-e694-4445-9765-2c9aad6149ce" providerId="ADAL" clId="{F798D4AA-0E14-EB43-9CA0-DC099737DEE1}" dt="2023-11-21T04:23:48.728" v="5210" actId="404"/>
          <ac:spMkLst>
            <pc:docMk/>
            <pc:sldMk cId="3559694082" sldId="2147309855"/>
            <ac:spMk id="41" creationId="{7FA6E227-DF84-578B-6EC9-4197847A3587}"/>
          </ac:spMkLst>
        </pc:spChg>
        <pc:spChg chg="mod">
          <ac:chgData name="Kau, Derchang" userId="b9148588-e694-4445-9765-2c9aad6149ce" providerId="ADAL" clId="{F798D4AA-0E14-EB43-9CA0-DC099737DEE1}" dt="2023-11-21T04:23:48.728" v="5210" actId="404"/>
          <ac:spMkLst>
            <pc:docMk/>
            <pc:sldMk cId="3559694082" sldId="2147309855"/>
            <ac:spMk id="42" creationId="{44BF5322-955E-FEA1-3839-24DA1729EC66}"/>
          </ac:spMkLst>
        </pc:spChg>
        <pc:spChg chg="mod">
          <ac:chgData name="Kau, Derchang" userId="b9148588-e694-4445-9765-2c9aad6149ce" providerId="ADAL" clId="{F798D4AA-0E14-EB43-9CA0-DC099737DEE1}" dt="2023-11-21T04:23:48.728" v="5210" actId="404"/>
          <ac:spMkLst>
            <pc:docMk/>
            <pc:sldMk cId="3559694082" sldId="2147309855"/>
            <ac:spMk id="43" creationId="{65DD89FC-67A4-B807-92D8-D8484208B476}"/>
          </ac:spMkLst>
        </pc:spChg>
        <pc:spChg chg="mod">
          <ac:chgData name="Kau, Derchang" userId="b9148588-e694-4445-9765-2c9aad6149ce" providerId="ADAL" clId="{F798D4AA-0E14-EB43-9CA0-DC099737DEE1}" dt="2023-11-21T04:23:48.728" v="5210" actId="404"/>
          <ac:spMkLst>
            <pc:docMk/>
            <pc:sldMk cId="3559694082" sldId="2147309855"/>
            <ac:spMk id="44" creationId="{38D3B7AD-D486-3294-82A5-34464A9204C9}"/>
          </ac:spMkLst>
        </pc:spChg>
        <pc:spChg chg="mod">
          <ac:chgData name="Kau, Derchang" userId="b9148588-e694-4445-9765-2c9aad6149ce" providerId="ADAL" clId="{F798D4AA-0E14-EB43-9CA0-DC099737DEE1}" dt="2023-11-21T04:23:48.728" v="5210" actId="404"/>
          <ac:spMkLst>
            <pc:docMk/>
            <pc:sldMk cId="3559694082" sldId="2147309855"/>
            <ac:spMk id="45" creationId="{F10493C3-A746-BEC5-1DAE-B5061EE327D1}"/>
          </ac:spMkLst>
        </pc:spChg>
        <pc:spChg chg="mod">
          <ac:chgData name="Kau, Derchang" userId="b9148588-e694-4445-9765-2c9aad6149ce" providerId="ADAL" clId="{F798D4AA-0E14-EB43-9CA0-DC099737DEE1}" dt="2023-11-21T04:23:48.728" v="5210" actId="404"/>
          <ac:spMkLst>
            <pc:docMk/>
            <pc:sldMk cId="3559694082" sldId="2147309855"/>
            <ac:spMk id="46" creationId="{A5EC2FCB-9AC9-0DAA-E795-6ADA029DB642}"/>
          </ac:spMkLst>
        </pc:spChg>
        <pc:spChg chg="mod">
          <ac:chgData name="Kau, Derchang" userId="b9148588-e694-4445-9765-2c9aad6149ce" providerId="ADAL" clId="{F798D4AA-0E14-EB43-9CA0-DC099737DEE1}" dt="2023-11-21T04:23:48.728" v="5210" actId="404"/>
          <ac:spMkLst>
            <pc:docMk/>
            <pc:sldMk cId="3559694082" sldId="2147309855"/>
            <ac:spMk id="47" creationId="{7BDF2C54-F061-C5D5-5BA5-C3B177E2CDC8}"/>
          </ac:spMkLst>
        </pc:spChg>
        <pc:spChg chg="add mod">
          <ac:chgData name="Kau, Derchang" userId="b9148588-e694-4445-9765-2c9aad6149ce" providerId="ADAL" clId="{F798D4AA-0E14-EB43-9CA0-DC099737DEE1}" dt="2023-11-21T04:50:48.259" v="5654" actId="1037"/>
          <ac:spMkLst>
            <pc:docMk/>
            <pc:sldMk cId="3559694082" sldId="2147309855"/>
            <ac:spMk id="48" creationId="{67D65723-FF75-C1C0-A8D8-AD47D8D2FF3F}"/>
          </ac:spMkLst>
        </pc:spChg>
        <pc:spChg chg="add mod">
          <ac:chgData name="Kau, Derchang" userId="b9148588-e694-4445-9765-2c9aad6149ce" providerId="ADAL" clId="{F798D4AA-0E14-EB43-9CA0-DC099737DEE1}" dt="2023-11-21T05:19:13.180" v="5803" actId="404"/>
          <ac:spMkLst>
            <pc:docMk/>
            <pc:sldMk cId="3559694082" sldId="2147309855"/>
            <ac:spMk id="49" creationId="{C722A401-382D-37CF-917C-6E66A09FE843}"/>
          </ac:spMkLst>
        </pc:spChg>
        <pc:spChg chg="add mod">
          <ac:chgData name="Kau, Derchang" userId="b9148588-e694-4445-9765-2c9aad6149ce" providerId="ADAL" clId="{F798D4AA-0E14-EB43-9CA0-DC099737DEE1}" dt="2023-11-21T05:19:17.419" v="5804" actId="404"/>
          <ac:spMkLst>
            <pc:docMk/>
            <pc:sldMk cId="3559694082" sldId="2147309855"/>
            <ac:spMk id="50" creationId="{2F637CF3-68A9-5DE5-9891-039B12A93081}"/>
          </ac:spMkLst>
        </pc:spChg>
        <pc:spChg chg="add del mod">
          <ac:chgData name="Kau, Derchang" userId="b9148588-e694-4445-9765-2c9aad6149ce" providerId="ADAL" clId="{F798D4AA-0E14-EB43-9CA0-DC099737DEE1}" dt="2023-11-21T04:28:07.128" v="5314" actId="478"/>
          <ac:spMkLst>
            <pc:docMk/>
            <pc:sldMk cId="3559694082" sldId="2147309855"/>
            <ac:spMk id="51" creationId="{146488EF-B721-CB34-47E3-449204BF450F}"/>
          </ac:spMkLst>
        </pc:spChg>
        <pc:spChg chg="add del mod">
          <ac:chgData name="Kau, Derchang" userId="b9148588-e694-4445-9765-2c9aad6149ce" providerId="ADAL" clId="{F798D4AA-0E14-EB43-9CA0-DC099737DEE1}" dt="2023-11-21T04:50:26.635" v="5605" actId="478"/>
          <ac:spMkLst>
            <pc:docMk/>
            <pc:sldMk cId="3559694082" sldId="2147309855"/>
            <ac:spMk id="52" creationId="{ECB98677-D0B6-0594-60E3-4FEBFEC1D97B}"/>
          </ac:spMkLst>
        </pc:spChg>
        <pc:spChg chg="add del mod topLvl">
          <ac:chgData name="Kau, Derchang" userId="b9148588-e694-4445-9765-2c9aad6149ce" providerId="ADAL" clId="{F798D4AA-0E14-EB43-9CA0-DC099737DEE1}" dt="2023-11-21T04:45:31.896" v="5515" actId="478"/>
          <ac:spMkLst>
            <pc:docMk/>
            <pc:sldMk cId="3559694082" sldId="2147309855"/>
            <ac:spMk id="56" creationId="{C7B9AA4C-0BAC-31E2-B63C-89930552FDF9}"/>
          </ac:spMkLst>
        </pc:spChg>
        <pc:spChg chg="add del mod">
          <ac:chgData name="Kau, Derchang" userId="b9148588-e694-4445-9765-2c9aad6149ce" providerId="ADAL" clId="{F798D4AA-0E14-EB43-9CA0-DC099737DEE1}" dt="2023-11-21T04:45:32.856" v="5517" actId="478"/>
          <ac:spMkLst>
            <pc:docMk/>
            <pc:sldMk cId="3559694082" sldId="2147309855"/>
            <ac:spMk id="57" creationId="{BC748189-9BDF-E916-88B6-813869F0DD9D}"/>
          </ac:spMkLst>
        </pc:spChg>
        <pc:spChg chg="add del mod">
          <ac:chgData name="Kau, Derchang" userId="b9148588-e694-4445-9765-2c9aad6149ce" providerId="ADAL" clId="{F798D4AA-0E14-EB43-9CA0-DC099737DEE1}" dt="2023-11-21T04:45:31.896" v="5515" actId="478"/>
          <ac:spMkLst>
            <pc:docMk/>
            <pc:sldMk cId="3559694082" sldId="2147309855"/>
            <ac:spMk id="58" creationId="{1AB15809-9BA8-DD18-E51A-75E00EE845CE}"/>
          </ac:spMkLst>
        </pc:spChg>
        <pc:spChg chg="add del mod">
          <ac:chgData name="Kau, Derchang" userId="b9148588-e694-4445-9765-2c9aad6149ce" providerId="ADAL" clId="{F798D4AA-0E14-EB43-9CA0-DC099737DEE1}" dt="2023-11-21T04:45:33.416" v="5518" actId="478"/>
          <ac:spMkLst>
            <pc:docMk/>
            <pc:sldMk cId="3559694082" sldId="2147309855"/>
            <ac:spMk id="59" creationId="{95CB4731-F541-1E1E-EEEF-BC6902C478CC}"/>
          </ac:spMkLst>
        </pc:spChg>
        <pc:spChg chg="mod">
          <ac:chgData name="Kau, Derchang" userId="b9148588-e694-4445-9765-2c9aad6149ce" providerId="ADAL" clId="{F798D4AA-0E14-EB43-9CA0-DC099737DEE1}" dt="2023-11-21T04:27:06.229" v="5303" actId="207"/>
          <ac:spMkLst>
            <pc:docMk/>
            <pc:sldMk cId="3559694082" sldId="2147309855"/>
            <ac:spMk id="60" creationId="{4897FC9E-CDC5-A567-2AFF-BB713C27DEDF}"/>
          </ac:spMkLst>
        </pc:spChg>
        <pc:spChg chg="mod">
          <ac:chgData name="Kau, Derchang" userId="b9148588-e694-4445-9765-2c9aad6149ce" providerId="ADAL" clId="{F798D4AA-0E14-EB43-9CA0-DC099737DEE1}" dt="2023-11-21T04:27:06.229" v="5303" actId="207"/>
          <ac:spMkLst>
            <pc:docMk/>
            <pc:sldMk cId="3559694082" sldId="2147309855"/>
            <ac:spMk id="61" creationId="{590762E5-01C9-2822-EF64-7EB39DEDE8D9}"/>
          </ac:spMkLst>
        </pc:spChg>
        <pc:spChg chg="mod">
          <ac:chgData name="Kau, Derchang" userId="b9148588-e694-4445-9765-2c9aad6149ce" providerId="ADAL" clId="{F798D4AA-0E14-EB43-9CA0-DC099737DEE1}" dt="2023-11-21T04:27:06.229" v="5303" actId="207"/>
          <ac:spMkLst>
            <pc:docMk/>
            <pc:sldMk cId="3559694082" sldId="2147309855"/>
            <ac:spMk id="62" creationId="{41C6F3F3-7779-682C-6997-2C3A87CCB25D}"/>
          </ac:spMkLst>
        </pc:spChg>
        <pc:spChg chg="mod">
          <ac:chgData name="Kau, Derchang" userId="b9148588-e694-4445-9765-2c9aad6149ce" providerId="ADAL" clId="{F798D4AA-0E14-EB43-9CA0-DC099737DEE1}" dt="2023-11-21T04:27:06.229" v="5303" actId="207"/>
          <ac:spMkLst>
            <pc:docMk/>
            <pc:sldMk cId="3559694082" sldId="2147309855"/>
            <ac:spMk id="63" creationId="{06D70EA5-3AD4-0FE9-EBF3-0CA4CA64AD81}"/>
          </ac:spMkLst>
        </pc:spChg>
        <pc:spChg chg="mod">
          <ac:chgData name="Kau, Derchang" userId="b9148588-e694-4445-9765-2c9aad6149ce" providerId="ADAL" clId="{F798D4AA-0E14-EB43-9CA0-DC099737DEE1}" dt="2023-11-21T04:27:06.229" v="5303" actId="207"/>
          <ac:spMkLst>
            <pc:docMk/>
            <pc:sldMk cId="3559694082" sldId="2147309855"/>
            <ac:spMk id="69" creationId="{525B4AF9-9C3E-3542-C275-F8F6FD613D28}"/>
          </ac:spMkLst>
        </pc:spChg>
        <pc:spChg chg="mod">
          <ac:chgData name="Kau, Derchang" userId="b9148588-e694-4445-9765-2c9aad6149ce" providerId="ADAL" clId="{F798D4AA-0E14-EB43-9CA0-DC099737DEE1}" dt="2023-11-21T04:27:06.229" v="5303" actId="207"/>
          <ac:spMkLst>
            <pc:docMk/>
            <pc:sldMk cId="3559694082" sldId="2147309855"/>
            <ac:spMk id="70" creationId="{38581372-A023-E87C-029C-4E5F1F10904D}"/>
          </ac:spMkLst>
        </pc:spChg>
        <pc:spChg chg="mod">
          <ac:chgData name="Kau, Derchang" userId="b9148588-e694-4445-9765-2c9aad6149ce" providerId="ADAL" clId="{F798D4AA-0E14-EB43-9CA0-DC099737DEE1}" dt="2023-11-21T04:27:06.229" v="5303" actId="207"/>
          <ac:spMkLst>
            <pc:docMk/>
            <pc:sldMk cId="3559694082" sldId="2147309855"/>
            <ac:spMk id="71" creationId="{5AB26D01-5DEC-FDC8-DCA9-2E0045FB2C11}"/>
          </ac:spMkLst>
        </pc:spChg>
        <pc:spChg chg="mod">
          <ac:chgData name="Kau, Derchang" userId="b9148588-e694-4445-9765-2c9aad6149ce" providerId="ADAL" clId="{F798D4AA-0E14-EB43-9CA0-DC099737DEE1}" dt="2023-11-21T04:27:06.229" v="5303" actId="207"/>
          <ac:spMkLst>
            <pc:docMk/>
            <pc:sldMk cId="3559694082" sldId="2147309855"/>
            <ac:spMk id="72" creationId="{FCD3B7D8-2616-7D35-743F-1341E65DB9B2}"/>
          </ac:spMkLst>
        </pc:spChg>
        <pc:spChg chg="mod">
          <ac:chgData name="Kau, Derchang" userId="b9148588-e694-4445-9765-2c9aad6149ce" providerId="ADAL" clId="{F798D4AA-0E14-EB43-9CA0-DC099737DEE1}" dt="2023-11-21T04:27:06.229" v="5303" actId="207"/>
          <ac:spMkLst>
            <pc:docMk/>
            <pc:sldMk cId="3559694082" sldId="2147309855"/>
            <ac:spMk id="73" creationId="{068FE669-02F4-6852-FD62-6DCE9966146A}"/>
          </ac:spMkLst>
        </pc:spChg>
        <pc:spChg chg="mod">
          <ac:chgData name="Kau, Derchang" userId="b9148588-e694-4445-9765-2c9aad6149ce" providerId="ADAL" clId="{F798D4AA-0E14-EB43-9CA0-DC099737DEE1}" dt="2023-11-21T04:27:06.229" v="5303" actId="207"/>
          <ac:spMkLst>
            <pc:docMk/>
            <pc:sldMk cId="3559694082" sldId="2147309855"/>
            <ac:spMk id="74" creationId="{B84434AE-7044-AF47-FAF5-C215FDD13263}"/>
          </ac:spMkLst>
        </pc:spChg>
        <pc:spChg chg="mod">
          <ac:chgData name="Kau, Derchang" userId="b9148588-e694-4445-9765-2c9aad6149ce" providerId="ADAL" clId="{F798D4AA-0E14-EB43-9CA0-DC099737DEE1}" dt="2023-11-21T04:27:06.229" v="5303" actId="207"/>
          <ac:spMkLst>
            <pc:docMk/>
            <pc:sldMk cId="3559694082" sldId="2147309855"/>
            <ac:spMk id="75" creationId="{EFAD41F2-D80E-2B5D-1A5C-B0ADF2314032}"/>
          </ac:spMkLst>
        </pc:spChg>
        <pc:spChg chg="mod">
          <ac:chgData name="Kau, Derchang" userId="b9148588-e694-4445-9765-2c9aad6149ce" providerId="ADAL" clId="{F798D4AA-0E14-EB43-9CA0-DC099737DEE1}" dt="2023-11-21T04:27:06.229" v="5303" actId="207"/>
          <ac:spMkLst>
            <pc:docMk/>
            <pc:sldMk cId="3559694082" sldId="2147309855"/>
            <ac:spMk id="76" creationId="{C3B292D1-5017-EF92-ECD0-A171D337F850}"/>
          </ac:spMkLst>
        </pc:spChg>
        <pc:spChg chg="mod">
          <ac:chgData name="Kau, Derchang" userId="b9148588-e694-4445-9765-2c9aad6149ce" providerId="ADAL" clId="{F798D4AA-0E14-EB43-9CA0-DC099737DEE1}" dt="2023-11-21T04:27:06.229" v="5303" actId="207"/>
          <ac:spMkLst>
            <pc:docMk/>
            <pc:sldMk cId="3559694082" sldId="2147309855"/>
            <ac:spMk id="79" creationId="{18021DE6-F5B8-F774-04B1-7FB37BC916EC}"/>
          </ac:spMkLst>
        </pc:spChg>
        <pc:spChg chg="mod">
          <ac:chgData name="Kau, Derchang" userId="b9148588-e694-4445-9765-2c9aad6149ce" providerId="ADAL" clId="{F798D4AA-0E14-EB43-9CA0-DC099737DEE1}" dt="2023-11-21T04:27:06.229" v="5303" actId="207"/>
          <ac:spMkLst>
            <pc:docMk/>
            <pc:sldMk cId="3559694082" sldId="2147309855"/>
            <ac:spMk id="80" creationId="{BF2084AD-D74D-AC48-9552-F6952CFB5826}"/>
          </ac:spMkLst>
        </pc:spChg>
        <pc:spChg chg="mod">
          <ac:chgData name="Kau, Derchang" userId="b9148588-e694-4445-9765-2c9aad6149ce" providerId="ADAL" clId="{F798D4AA-0E14-EB43-9CA0-DC099737DEE1}" dt="2023-11-21T04:27:06.229" v="5303" actId="207"/>
          <ac:spMkLst>
            <pc:docMk/>
            <pc:sldMk cId="3559694082" sldId="2147309855"/>
            <ac:spMk id="81" creationId="{374D20F0-3C10-28B6-158E-D1674D2B378C}"/>
          </ac:spMkLst>
        </pc:spChg>
        <pc:spChg chg="mod">
          <ac:chgData name="Kau, Derchang" userId="b9148588-e694-4445-9765-2c9aad6149ce" providerId="ADAL" clId="{F798D4AA-0E14-EB43-9CA0-DC099737DEE1}" dt="2023-11-21T04:27:06.229" v="5303" actId="207"/>
          <ac:spMkLst>
            <pc:docMk/>
            <pc:sldMk cId="3559694082" sldId="2147309855"/>
            <ac:spMk id="82" creationId="{4A6548E1-F744-F3AC-30C7-25CACEDA2E3B}"/>
          </ac:spMkLst>
        </pc:spChg>
        <pc:spChg chg="mod">
          <ac:chgData name="Kau, Derchang" userId="b9148588-e694-4445-9765-2c9aad6149ce" providerId="ADAL" clId="{F798D4AA-0E14-EB43-9CA0-DC099737DEE1}" dt="2023-11-21T04:27:06.229" v="5303" actId="207"/>
          <ac:spMkLst>
            <pc:docMk/>
            <pc:sldMk cId="3559694082" sldId="2147309855"/>
            <ac:spMk id="83" creationId="{B0B3E2C5-1089-3300-0FBA-1C43EB85ECB2}"/>
          </ac:spMkLst>
        </pc:spChg>
        <pc:spChg chg="mod">
          <ac:chgData name="Kau, Derchang" userId="b9148588-e694-4445-9765-2c9aad6149ce" providerId="ADAL" clId="{F798D4AA-0E14-EB43-9CA0-DC099737DEE1}" dt="2023-11-21T04:27:06.229" v="5303" actId="207"/>
          <ac:spMkLst>
            <pc:docMk/>
            <pc:sldMk cId="3559694082" sldId="2147309855"/>
            <ac:spMk id="84" creationId="{E14AB740-7AAC-58C8-AFFB-98BDADB125DF}"/>
          </ac:spMkLst>
        </pc:spChg>
        <pc:spChg chg="mod">
          <ac:chgData name="Kau, Derchang" userId="b9148588-e694-4445-9765-2c9aad6149ce" providerId="ADAL" clId="{F798D4AA-0E14-EB43-9CA0-DC099737DEE1}" dt="2023-11-21T04:27:06.229" v="5303" actId="207"/>
          <ac:spMkLst>
            <pc:docMk/>
            <pc:sldMk cId="3559694082" sldId="2147309855"/>
            <ac:spMk id="85" creationId="{7D51D1B9-53CB-1155-ADB5-8112831ABF26}"/>
          </ac:spMkLst>
        </pc:spChg>
        <pc:spChg chg="mod">
          <ac:chgData name="Kau, Derchang" userId="b9148588-e694-4445-9765-2c9aad6149ce" providerId="ADAL" clId="{F798D4AA-0E14-EB43-9CA0-DC099737DEE1}" dt="2023-11-21T04:27:06.229" v="5303" actId="207"/>
          <ac:spMkLst>
            <pc:docMk/>
            <pc:sldMk cId="3559694082" sldId="2147309855"/>
            <ac:spMk id="86" creationId="{785A0635-B44D-BEEF-6E2E-7C7066AAABDD}"/>
          </ac:spMkLst>
        </pc:spChg>
        <pc:spChg chg="add del mod">
          <ac:chgData name="Kau, Derchang" userId="b9148588-e694-4445-9765-2c9aad6149ce" providerId="ADAL" clId="{F798D4AA-0E14-EB43-9CA0-DC099737DEE1}" dt="2023-11-21T04:38:46.159" v="5420" actId="478"/>
          <ac:spMkLst>
            <pc:docMk/>
            <pc:sldMk cId="3559694082" sldId="2147309855"/>
            <ac:spMk id="87" creationId="{CBA8C4F8-34F1-9ED5-65A7-32664E495E9B}"/>
          </ac:spMkLst>
        </pc:spChg>
        <pc:spChg chg="add mod">
          <ac:chgData name="Kau, Derchang" userId="b9148588-e694-4445-9765-2c9aad6149ce" providerId="ADAL" clId="{F798D4AA-0E14-EB43-9CA0-DC099737DEE1}" dt="2023-11-21T04:50:48.259" v="5654" actId="1037"/>
          <ac:spMkLst>
            <pc:docMk/>
            <pc:sldMk cId="3559694082" sldId="2147309855"/>
            <ac:spMk id="88" creationId="{6BA9ED7D-4B8F-37E6-52DB-151FAF023287}"/>
          </ac:spMkLst>
        </pc:spChg>
        <pc:spChg chg="mod">
          <ac:chgData name="Kau, Derchang" userId="b9148588-e694-4445-9765-2c9aad6149ce" providerId="ADAL" clId="{F798D4AA-0E14-EB43-9CA0-DC099737DEE1}" dt="2023-11-21T04:40:09.412" v="5451"/>
          <ac:spMkLst>
            <pc:docMk/>
            <pc:sldMk cId="3559694082" sldId="2147309855"/>
            <ac:spMk id="92" creationId="{BF8348A3-5AFF-EAA1-2B6A-23F1CA970657}"/>
          </ac:spMkLst>
        </pc:spChg>
        <pc:spChg chg="mod">
          <ac:chgData name="Kau, Derchang" userId="b9148588-e694-4445-9765-2c9aad6149ce" providerId="ADAL" clId="{F798D4AA-0E14-EB43-9CA0-DC099737DEE1}" dt="2023-11-21T04:40:09.412" v="5451"/>
          <ac:spMkLst>
            <pc:docMk/>
            <pc:sldMk cId="3559694082" sldId="2147309855"/>
            <ac:spMk id="93" creationId="{3B77A88C-AFFA-9369-A3EA-77F699C563B3}"/>
          </ac:spMkLst>
        </pc:spChg>
        <pc:spChg chg="mod">
          <ac:chgData name="Kau, Derchang" userId="b9148588-e694-4445-9765-2c9aad6149ce" providerId="ADAL" clId="{F798D4AA-0E14-EB43-9CA0-DC099737DEE1}" dt="2023-11-21T04:40:09.412" v="5451"/>
          <ac:spMkLst>
            <pc:docMk/>
            <pc:sldMk cId="3559694082" sldId="2147309855"/>
            <ac:spMk id="94" creationId="{8CBC4042-75EC-0A90-D505-56F001584539}"/>
          </ac:spMkLst>
        </pc:spChg>
        <pc:spChg chg="mod">
          <ac:chgData name="Kau, Derchang" userId="b9148588-e694-4445-9765-2c9aad6149ce" providerId="ADAL" clId="{F798D4AA-0E14-EB43-9CA0-DC099737DEE1}" dt="2023-11-21T04:40:09.412" v="5451"/>
          <ac:spMkLst>
            <pc:docMk/>
            <pc:sldMk cId="3559694082" sldId="2147309855"/>
            <ac:spMk id="95" creationId="{71AD7082-AC80-3CE2-1A77-C904EF759AC4}"/>
          </ac:spMkLst>
        </pc:spChg>
        <pc:spChg chg="mod">
          <ac:chgData name="Kau, Derchang" userId="b9148588-e694-4445-9765-2c9aad6149ce" providerId="ADAL" clId="{F798D4AA-0E14-EB43-9CA0-DC099737DEE1}" dt="2023-11-21T04:40:09.412" v="5451"/>
          <ac:spMkLst>
            <pc:docMk/>
            <pc:sldMk cId="3559694082" sldId="2147309855"/>
            <ac:spMk id="96" creationId="{8DCDBEA3-2073-AE5C-1FD0-28E4F32AA960}"/>
          </ac:spMkLst>
        </pc:spChg>
        <pc:spChg chg="mod">
          <ac:chgData name="Kau, Derchang" userId="b9148588-e694-4445-9765-2c9aad6149ce" providerId="ADAL" clId="{F798D4AA-0E14-EB43-9CA0-DC099737DEE1}" dt="2023-11-21T04:40:09.412" v="5451"/>
          <ac:spMkLst>
            <pc:docMk/>
            <pc:sldMk cId="3559694082" sldId="2147309855"/>
            <ac:spMk id="97" creationId="{40AFB50D-F4FA-2959-4ED9-7C606B8FE3ED}"/>
          </ac:spMkLst>
        </pc:spChg>
        <pc:spChg chg="mod">
          <ac:chgData name="Kau, Derchang" userId="b9148588-e694-4445-9765-2c9aad6149ce" providerId="ADAL" clId="{F798D4AA-0E14-EB43-9CA0-DC099737DEE1}" dt="2023-11-21T04:40:09.412" v="5451"/>
          <ac:spMkLst>
            <pc:docMk/>
            <pc:sldMk cId="3559694082" sldId="2147309855"/>
            <ac:spMk id="98" creationId="{CD1B71B2-4C64-F576-41CF-7902E284DA25}"/>
          </ac:spMkLst>
        </pc:spChg>
        <pc:spChg chg="mod">
          <ac:chgData name="Kau, Derchang" userId="b9148588-e694-4445-9765-2c9aad6149ce" providerId="ADAL" clId="{F798D4AA-0E14-EB43-9CA0-DC099737DEE1}" dt="2023-11-21T04:40:09.412" v="5451"/>
          <ac:spMkLst>
            <pc:docMk/>
            <pc:sldMk cId="3559694082" sldId="2147309855"/>
            <ac:spMk id="99" creationId="{8AC24005-3655-9473-04D7-E7BBD3DF4CF5}"/>
          </ac:spMkLst>
        </pc:spChg>
        <pc:spChg chg="mod">
          <ac:chgData name="Kau, Derchang" userId="b9148588-e694-4445-9765-2c9aad6149ce" providerId="ADAL" clId="{F798D4AA-0E14-EB43-9CA0-DC099737DEE1}" dt="2023-11-21T04:40:32.143" v="5463"/>
          <ac:spMkLst>
            <pc:docMk/>
            <pc:sldMk cId="3559694082" sldId="2147309855"/>
            <ac:spMk id="103" creationId="{A592589D-69F4-F255-D64B-791046619D13}"/>
          </ac:spMkLst>
        </pc:spChg>
        <pc:spChg chg="mod">
          <ac:chgData name="Kau, Derchang" userId="b9148588-e694-4445-9765-2c9aad6149ce" providerId="ADAL" clId="{F798D4AA-0E14-EB43-9CA0-DC099737DEE1}" dt="2023-11-21T04:40:32.143" v="5463"/>
          <ac:spMkLst>
            <pc:docMk/>
            <pc:sldMk cId="3559694082" sldId="2147309855"/>
            <ac:spMk id="104" creationId="{5A9CF86C-8DF0-CD4A-B5E5-54044DA65E53}"/>
          </ac:spMkLst>
        </pc:spChg>
        <pc:spChg chg="mod">
          <ac:chgData name="Kau, Derchang" userId="b9148588-e694-4445-9765-2c9aad6149ce" providerId="ADAL" clId="{F798D4AA-0E14-EB43-9CA0-DC099737DEE1}" dt="2023-11-21T04:40:32.143" v="5463"/>
          <ac:spMkLst>
            <pc:docMk/>
            <pc:sldMk cId="3559694082" sldId="2147309855"/>
            <ac:spMk id="105" creationId="{E7CC2249-4466-BB6D-53C7-66A795EF9874}"/>
          </ac:spMkLst>
        </pc:spChg>
        <pc:spChg chg="mod">
          <ac:chgData name="Kau, Derchang" userId="b9148588-e694-4445-9765-2c9aad6149ce" providerId="ADAL" clId="{F798D4AA-0E14-EB43-9CA0-DC099737DEE1}" dt="2023-11-21T04:40:32.143" v="5463"/>
          <ac:spMkLst>
            <pc:docMk/>
            <pc:sldMk cId="3559694082" sldId="2147309855"/>
            <ac:spMk id="106" creationId="{5F8570F6-E885-BC4A-7E2C-8007384F1063}"/>
          </ac:spMkLst>
        </pc:spChg>
        <pc:spChg chg="mod">
          <ac:chgData name="Kau, Derchang" userId="b9148588-e694-4445-9765-2c9aad6149ce" providerId="ADAL" clId="{F798D4AA-0E14-EB43-9CA0-DC099737DEE1}" dt="2023-11-21T04:40:32.143" v="5463"/>
          <ac:spMkLst>
            <pc:docMk/>
            <pc:sldMk cId="3559694082" sldId="2147309855"/>
            <ac:spMk id="107" creationId="{BD5E5720-D16B-5721-376B-7A7ECEAFDAB8}"/>
          </ac:spMkLst>
        </pc:spChg>
        <pc:spChg chg="mod">
          <ac:chgData name="Kau, Derchang" userId="b9148588-e694-4445-9765-2c9aad6149ce" providerId="ADAL" clId="{F798D4AA-0E14-EB43-9CA0-DC099737DEE1}" dt="2023-11-21T04:40:32.143" v="5463"/>
          <ac:spMkLst>
            <pc:docMk/>
            <pc:sldMk cId="3559694082" sldId="2147309855"/>
            <ac:spMk id="108" creationId="{BFB719DA-7E07-F09A-D5B5-4A1F791FD8F3}"/>
          </ac:spMkLst>
        </pc:spChg>
        <pc:spChg chg="mod">
          <ac:chgData name="Kau, Derchang" userId="b9148588-e694-4445-9765-2c9aad6149ce" providerId="ADAL" clId="{F798D4AA-0E14-EB43-9CA0-DC099737DEE1}" dt="2023-11-21T04:40:32.143" v="5463"/>
          <ac:spMkLst>
            <pc:docMk/>
            <pc:sldMk cId="3559694082" sldId="2147309855"/>
            <ac:spMk id="109" creationId="{BCA4262A-916B-C495-AC37-D60202D2C0CB}"/>
          </ac:spMkLst>
        </pc:spChg>
        <pc:spChg chg="mod">
          <ac:chgData name="Kau, Derchang" userId="b9148588-e694-4445-9765-2c9aad6149ce" providerId="ADAL" clId="{F798D4AA-0E14-EB43-9CA0-DC099737DEE1}" dt="2023-11-21T04:40:32.143" v="5463"/>
          <ac:spMkLst>
            <pc:docMk/>
            <pc:sldMk cId="3559694082" sldId="2147309855"/>
            <ac:spMk id="110" creationId="{BC98BDCF-11E8-7904-B2DC-AAC53AD768ED}"/>
          </ac:spMkLst>
        </pc:spChg>
        <pc:spChg chg="add mod">
          <ac:chgData name="Kau, Derchang" userId="b9148588-e694-4445-9765-2c9aad6149ce" providerId="ADAL" clId="{F798D4AA-0E14-EB43-9CA0-DC099737DEE1}" dt="2023-11-21T04:50:48.259" v="5654" actId="1037"/>
          <ac:spMkLst>
            <pc:docMk/>
            <pc:sldMk cId="3559694082" sldId="2147309855"/>
            <ac:spMk id="111" creationId="{F1355BED-EAC5-E542-8266-481522AFE1F6}"/>
          </ac:spMkLst>
        </pc:spChg>
        <pc:spChg chg="mod">
          <ac:chgData name="Kau, Derchang" userId="b9148588-e694-4445-9765-2c9aad6149ce" providerId="ADAL" clId="{F798D4AA-0E14-EB43-9CA0-DC099737DEE1}" dt="2023-11-21T04:43:35.465" v="5496"/>
          <ac:spMkLst>
            <pc:docMk/>
            <pc:sldMk cId="3559694082" sldId="2147309855"/>
            <ac:spMk id="115" creationId="{8B69AE6D-BDD0-712E-6032-2B77FE507F72}"/>
          </ac:spMkLst>
        </pc:spChg>
        <pc:spChg chg="mod">
          <ac:chgData name="Kau, Derchang" userId="b9148588-e694-4445-9765-2c9aad6149ce" providerId="ADAL" clId="{F798D4AA-0E14-EB43-9CA0-DC099737DEE1}" dt="2023-11-21T04:43:35.465" v="5496"/>
          <ac:spMkLst>
            <pc:docMk/>
            <pc:sldMk cId="3559694082" sldId="2147309855"/>
            <ac:spMk id="116" creationId="{03AA8BBA-2CED-E644-B529-14FC8EE7B446}"/>
          </ac:spMkLst>
        </pc:spChg>
        <pc:spChg chg="mod">
          <ac:chgData name="Kau, Derchang" userId="b9148588-e694-4445-9765-2c9aad6149ce" providerId="ADAL" clId="{F798D4AA-0E14-EB43-9CA0-DC099737DEE1}" dt="2023-11-21T04:43:35.465" v="5496"/>
          <ac:spMkLst>
            <pc:docMk/>
            <pc:sldMk cId="3559694082" sldId="2147309855"/>
            <ac:spMk id="117" creationId="{BEEE015C-B552-5514-8BA3-0D1C1EDC0544}"/>
          </ac:spMkLst>
        </pc:spChg>
        <pc:spChg chg="mod">
          <ac:chgData name="Kau, Derchang" userId="b9148588-e694-4445-9765-2c9aad6149ce" providerId="ADAL" clId="{F798D4AA-0E14-EB43-9CA0-DC099737DEE1}" dt="2023-11-21T04:43:35.465" v="5496"/>
          <ac:spMkLst>
            <pc:docMk/>
            <pc:sldMk cId="3559694082" sldId="2147309855"/>
            <ac:spMk id="118" creationId="{2EB763EE-072C-5514-107D-441F10D3A682}"/>
          </ac:spMkLst>
        </pc:spChg>
        <pc:spChg chg="mod">
          <ac:chgData name="Kau, Derchang" userId="b9148588-e694-4445-9765-2c9aad6149ce" providerId="ADAL" clId="{F798D4AA-0E14-EB43-9CA0-DC099737DEE1}" dt="2023-11-21T04:43:35.465" v="5496"/>
          <ac:spMkLst>
            <pc:docMk/>
            <pc:sldMk cId="3559694082" sldId="2147309855"/>
            <ac:spMk id="119" creationId="{38C9EC58-39AB-1BBA-9473-E0B1590CBFB1}"/>
          </ac:spMkLst>
        </pc:spChg>
        <pc:spChg chg="mod">
          <ac:chgData name="Kau, Derchang" userId="b9148588-e694-4445-9765-2c9aad6149ce" providerId="ADAL" clId="{F798D4AA-0E14-EB43-9CA0-DC099737DEE1}" dt="2023-11-21T04:43:35.465" v="5496"/>
          <ac:spMkLst>
            <pc:docMk/>
            <pc:sldMk cId="3559694082" sldId="2147309855"/>
            <ac:spMk id="120" creationId="{BD702FE9-0C1A-5187-448B-C3748B942792}"/>
          </ac:spMkLst>
        </pc:spChg>
        <pc:spChg chg="mod">
          <ac:chgData name="Kau, Derchang" userId="b9148588-e694-4445-9765-2c9aad6149ce" providerId="ADAL" clId="{F798D4AA-0E14-EB43-9CA0-DC099737DEE1}" dt="2023-11-21T04:43:35.465" v="5496"/>
          <ac:spMkLst>
            <pc:docMk/>
            <pc:sldMk cId="3559694082" sldId="2147309855"/>
            <ac:spMk id="121" creationId="{AD48659C-E6B1-A57B-9F25-05E421F105A4}"/>
          </ac:spMkLst>
        </pc:spChg>
        <pc:spChg chg="mod">
          <ac:chgData name="Kau, Derchang" userId="b9148588-e694-4445-9765-2c9aad6149ce" providerId="ADAL" clId="{F798D4AA-0E14-EB43-9CA0-DC099737DEE1}" dt="2023-11-21T04:43:35.465" v="5496"/>
          <ac:spMkLst>
            <pc:docMk/>
            <pc:sldMk cId="3559694082" sldId="2147309855"/>
            <ac:spMk id="122" creationId="{A6F4F312-7ED0-E149-8140-938C57C5BFEF}"/>
          </ac:spMkLst>
        </pc:spChg>
        <pc:spChg chg="mod">
          <ac:chgData name="Kau, Derchang" userId="b9148588-e694-4445-9765-2c9aad6149ce" providerId="ADAL" clId="{F798D4AA-0E14-EB43-9CA0-DC099737DEE1}" dt="2023-11-21T04:44:49.363" v="5502"/>
          <ac:spMkLst>
            <pc:docMk/>
            <pc:sldMk cId="3559694082" sldId="2147309855"/>
            <ac:spMk id="126" creationId="{C6396E7F-536E-DF9A-6145-E858369E359A}"/>
          </ac:spMkLst>
        </pc:spChg>
        <pc:spChg chg="mod">
          <ac:chgData name="Kau, Derchang" userId="b9148588-e694-4445-9765-2c9aad6149ce" providerId="ADAL" clId="{F798D4AA-0E14-EB43-9CA0-DC099737DEE1}" dt="2023-11-21T04:44:49.363" v="5502"/>
          <ac:spMkLst>
            <pc:docMk/>
            <pc:sldMk cId="3559694082" sldId="2147309855"/>
            <ac:spMk id="127" creationId="{4D3466A9-FE45-8F7D-C1D3-BC2C21D313FF}"/>
          </ac:spMkLst>
        </pc:spChg>
        <pc:spChg chg="mod">
          <ac:chgData name="Kau, Derchang" userId="b9148588-e694-4445-9765-2c9aad6149ce" providerId="ADAL" clId="{F798D4AA-0E14-EB43-9CA0-DC099737DEE1}" dt="2023-11-21T04:44:49.363" v="5502"/>
          <ac:spMkLst>
            <pc:docMk/>
            <pc:sldMk cId="3559694082" sldId="2147309855"/>
            <ac:spMk id="128" creationId="{3E834824-B9C5-E9C4-6ED4-D61C8C3B5EA1}"/>
          </ac:spMkLst>
        </pc:spChg>
        <pc:spChg chg="mod">
          <ac:chgData name="Kau, Derchang" userId="b9148588-e694-4445-9765-2c9aad6149ce" providerId="ADAL" clId="{F798D4AA-0E14-EB43-9CA0-DC099737DEE1}" dt="2023-11-21T04:44:49.363" v="5502"/>
          <ac:spMkLst>
            <pc:docMk/>
            <pc:sldMk cId="3559694082" sldId="2147309855"/>
            <ac:spMk id="129" creationId="{EF10CD59-1915-BB8B-6CFA-BE6D58A6372E}"/>
          </ac:spMkLst>
        </pc:spChg>
        <pc:spChg chg="mod">
          <ac:chgData name="Kau, Derchang" userId="b9148588-e694-4445-9765-2c9aad6149ce" providerId="ADAL" clId="{F798D4AA-0E14-EB43-9CA0-DC099737DEE1}" dt="2023-11-21T04:44:49.363" v="5502"/>
          <ac:spMkLst>
            <pc:docMk/>
            <pc:sldMk cId="3559694082" sldId="2147309855"/>
            <ac:spMk id="130" creationId="{10CC5FFD-742C-F49F-E77F-F3EE2676DA63}"/>
          </ac:spMkLst>
        </pc:spChg>
        <pc:spChg chg="mod">
          <ac:chgData name="Kau, Derchang" userId="b9148588-e694-4445-9765-2c9aad6149ce" providerId="ADAL" clId="{F798D4AA-0E14-EB43-9CA0-DC099737DEE1}" dt="2023-11-21T04:44:49.363" v="5502"/>
          <ac:spMkLst>
            <pc:docMk/>
            <pc:sldMk cId="3559694082" sldId="2147309855"/>
            <ac:spMk id="131" creationId="{AF1A110B-7AF9-940A-005A-C87467B6D6B5}"/>
          </ac:spMkLst>
        </pc:spChg>
        <pc:spChg chg="mod">
          <ac:chgData name="Kau, Derchang" userId="b9148588-e694-4445-9765-2c9aad6149ce" providerId="ADAL" clId="{F798D4AA-0E14-EB43-9CA0-DC099737DEE1}" dt="2023-11-21T04:44:49.363" v="5502"/>
          <ac:spMkLst>
            <pc:docMk/>
            <pc:sldMk cId="3559694082" sldId="2147309855"/>
            <ac:spMk id="132" creationId="{2DC78C9D-58C2-26CD-D42A-5E58D549F7A5}"/>
          </ac:spMkLst>
        </pc:spChg>
        <pc:spChg chg="mod">
          <ac:chgData name="Kau, Derchang" userId="b9148588-e694-4445-9765-2c9aad6149ce" providerId="ADAL" clId="{F798D4AA-0E14-EB43-9CA0-DC099737DEE1}" dt="2023-11-21T04:44:49.363" v="5502"/>
          <ac:spMkLst>
            <pc:docMk/>
            <pc:sldMk cId="3559694082" sldId="2147309855"/>
            <ac:spMk id="133" creationId="{9A0B49C2-6D61-BCC8-8766-C8CA01FACA91}"/>
          </ac:spMkLst>
        </pc:spChg>
        <pc:spChg chg="mod">
          <ac:chgData name="Kau, Derchang" userId="b9148588-e694-4445-9765-2c9aad6149ce" providerId="ADAL" clId="{F798D4AA-0E14-EB43-9CA0-DC099737DEE1}" dt="2023-11-21T04:45:44.830" v="5520"/>
          <ac:spMkLst>
            <pc:docMk/>
            <pc:sldMk cId="3559694082" sldId="2147309855"/>
            <ac:spMk id="135" creationId="{9AD507B3-31D0-FCFC-2CF2-9069AC837764}"/>
          </ac:spMkLst>
        </pc:spChg>
        <pc:spChg chg="mod">
          <ac:chgData name="Kau, Derchang" userId="b9148588-e694-4445-9765-2c9aad6149ce" providerId="ADAL" clId="{F798D4AA-0E14-EB43-9CA0-DC099737DEE1}" dt="2023-11-21T04:45:44.830" v="5520"/>
          <ac:spMkLst>
            <pc:docMk/>
            <pc:sldMk cId="3559694082" sldId="2147309855"/>
            <ac:spMk id="137" creationId="{3639A700-2310-9819-C4A4-E57938E3D83C}"/>
          </ac:spMkLst>
        </pc:spChg>
        <pc:spChg chg="mod">
          <ac:chgData name="Kau, Derchang" userId="b9148588-e694-4445-9765-2c9aad6149ce" providerId="ADAL" clId="{F798D4AA-0E14-EB43-9CA0-DC099737DEE1}" dt="2023-11-21T04:45:44.830" v="5520"/>
          <ac:spMkLst>
            <pc:docMk/>
            <pc:sldMk cId="3559694082" sldId="2147309855"/>
            <ac:spMk id="138" creationId="{E7CF3906-56E9-3F7D-DF31-F6E17DA1A9D7}"/>
          </ac:spMkLst>
        </pc:spChg>
        <pc:spChg chg="mod">
          <ac:chgData name="Kau, Derchang" userId="b9148588-e694-4445-9765-2c9aad6149ce" providerId="ADAL" clId="{F798D4AA-0E14-EB43-9CA0-DC099737DEE1}" dt="2023-11-21T04:45:44.830" v="5520"/>
          <ac:spMkLst>
            <pc:docMk/>
            <pc:sldMk cId="3559694082" sldId="2147309855"/>
            <ac:spMk id="139" creationId="{180586BF-846A-F4DD-50E6-C7646ED4E7A6}"/>
          </ac:spMkLst>
        </pc:spChg>
        <pc:spChg chg="mod">
          <ac:chgData name="Kau, Derchang" userId="b9148588-e694-4445-9765-2c9aad6149ce" providerId="ADAL" clId="{F798D4AA-0E14-EB43-9CA0-DC099737DEE1}" dt="2023-11-21T04:45:44.830" v="5520"/>
          <ac:spMkLst>
            <pc:docMk/>
            <pc:sldMk cId="3559694082" sldId="2147309855"/>
            <ac:spMk id="140" creationId="{AE101313-62D0-B3F4-CAC3-3E77DA70D754}"/>
          </ac:spMkLst>
        </pc:spChg>
        <pc:spChg chg="add mod">
          <ac:chgData name="Kau, Derchang" userId="b9148588-e694-4445-9765-2c9aad6149ce" providerId="ADAL" clId="{F798D4AA-0E14-EB43-9CA0-DC099737DEE1}" dt="2023-11-21T04:50:48.259" v="5654" actId="1037"/>
          <ac:spMkLst>
            <pc:docMk/>
            <pc:sldMk cId="3559694082" sldId="2147309855"/>
            <ac:spMk id="141" creationId="{B103BD3A-4A4F-8E42-D93A-634E9E06B1A0}"/>
          </ac:spMkLst>
        </pc:spChg>
        <pc:spChg chg="add mod">
          <ac:chgData name="Kau, Derchang" userId="b9148588-e694-4445-9765-2c9aad6149ce" providerId="ADAL" clId="{F798D4AA-0E14-EB43-9CA0-DC099737DEE1}" dt="2023-11-21T05:27:01.929" v="5819" actId="1076"/>
          <ac:spMkLst>
            <pc:docMk/>
            <pc:sldMk cId="3559694082" sldId="2147309855"/>
            <ac:spMk id="145" creationId="{996E5213-2F43-F986-31B7-17946BE7BE6F}"/>
          </ac:spMkLst>
        </pc:spChg>
        <pc:spChg chg="add del mod">
          <ac:chgData name="Kau, Derchang" userId="b9148588-e694-4445-9765-2c9aad6149ce" providerId="ADAL" clId="{F798D4AA-0E14-EB43-9CA0-DC099737DEE1}" dt="2023-11-21T05:26:00.242" v="5812"/>
          <ac:spMkLst>
            <pc:docMk/>
            <pc:sldMk cId="3559694082" sldId="2147309855"/>
            <ac:spMk id="150" creationId="{B3F6E7AA-C049-B094-9184-84F34F38A1FC}"/>
          </ac:spMkLst>
        </pc:spChg>
        <pc:grpChg chg="add mod">
          <ac:chgData name="Kau, Derchang" userId="b9148588-e694-4445-9765-2c9aad6149ce" providerId="ADAL" clId="{F798D4AA-0E14-EB43-9CA0-DC099737DEE1}" dt="2023-11-21T04:50:48.259" v="5654" actId="1037"/>
          <ac:grpSpMkLst>
            <pc:docMk/>
            <pc:sldMk cId="3559694082" sldId="2147309855"/>
            <ac:grpSpMk id="7" creationId="{B0AFA111-8CAC-2288-81E5-567E8BCAA3A3}"/>
          </ac:grpSpMkLst>
        </pc:grpChg>
        <pc:grpChg chg="add mod">
          <ac:chgData name="Kau, Derchang" userId="b9148588-e694-4445-9765-2c9aad6149ce" providerId="ADAL" clId="{F798D4AA-0E14-EB43-9CA0-DC099737DEE1}" dt="2023-11-21T04:50:48.259" v="5654" actId="1037"/>
          <ac:grpSpMkLst>
            <pc:docMk/>
            <pc:sldMk cId="3559694082" sldId="2147309855"/>
            <ac:grpSpMk id="10" creationId="{09A895B8-2686-1AE4-9FFC-01258005B86A}"/>
          </ac:grpSpMkLst>
        </pc:grpChg>
        <pc:grpChg chg="add mod">
          <ac:chgData name="Kau, Derchang" userId="b9148588-e694-4445-9765-2c9aad6149ce" providerId="ADAL" clId="{F798D4AA-0E14-EB43-9CA0-DC099737DEE1}" dt="2023-11-21T04:50:48.259" v="5654" actId="1037"/>
          <ac:grpSpMkLst>
            <pc:docMk/>
            <pc:sldMk cId="3559694082" sldId="2147309855"/>
            <ac:grpSpMk id="14" creationId="{43EF6643-4B65-2A50-477E-85E32201D343}"/>
          </ac:grpSpMkLst>
        </pc:grpChg>
        <pc:grpChg chg="del mod">
          <ac:chgData name="Kau, Derchang" userId="b9148588-e694-4445-9765-2c9aad6149ce" providerId="ADAL" clId="{F798D4AA-0E14-EB43-9CA0-DC099737DEE1}" dt="2023-11-21T04:45:01.886" v="5506" actId="478"/>
          <ac:grpSpMkLst>
            <pc:docMk/>
            <pc:sldMk cId="3559694082" sldId="2147309855"/>
            <ac:grpSpMk id="15" creationId="{280E265A-ADD4-6550-0E6E-B4C0BEE85B46}"/>
          </ac:grpSpMkLst>
        </pc:grpChg>
        <pc:grpChg chg="mod">
          <ac:chgData name="Kau, Derchang" userId="b9148588-e694-4445-9765-2c9aad6149ce" providerId="ADAL" clId="{F798D4AA-0E14-EB43-9CA0-DC099737DEE1}" dt="2023-11-21T04:23:23.173" v="5201"/>
          <ac:grpSpMkLst>
            <pc:docMk/>
            <pc:sldMk cId="3559694082" sldId="2147309855"/>
            <ac:grpSpMk id="16" creationId="{3C62514E-BDA7-E8EE-1CF4-68FA654E6424}"/>
          </ac:grpSpMkLst>
        </pc:grpChg>
        <pc:grpChg chg="add del mod">
          <ac:chgData name="Kau, Derchang" userId="b9148588-e694-4445-9765-2c9aad6149ce" providerId="ADAL" clId="{F798D4AA-0E14-EB43-9CA0-DC099737DEE1}" dt="2023-11-21T04:50:31.615" v="5608" actId="478"/>
          <ac:grpSpMkLst>
            <pc:docMk/>
            <pc:sldMk cId="3559694082" sldId="2147309855"/>
            <ac:grpSpMk id="25" creationId="{B4853774-3D6C-BB7A-9C05-DFD2D1F578C1}"/>
          </ac:grpSpMkLst>
        </pc:grpChg>
        <pc:grpChg chg="mod">
          <ac:chgData name="Kau, Derchang" userId="b9148588-e694-4445-9765-2c9aad6149ce" providerId="ADAL" clId="{F798D4AA-0E14-EB43-9CA0-DC099737DEE1}" dt="2023-11-21T04:23:23.173" v="5201"/>
          <ac:grpSpMkLst>
            <pc:docMk/>
            <pc:sldMk cId="3559694082" sldId="2147309855"/>
            <ac:grpSpMk id="26" creationId="{BFE243B4-C941-06E4-EE39-F670AAABD668}"/>
          </ac:grpSpMkLst>
        </pc:grpChg>
        <pc:grpChg chg="mod">
          <ac:chgData name="Kau, Derchang" userId="b9148588-e694-4445-9765-2c9aad6149ce" providerId="ADAL" clId="{F798D4AA-0E14-EB43-9CA0-DC099737DEE1}" dt="2023-11-21T04:23:23.173" v="5201"/>
          <ac:grpSpMkLst>
            <pc:docMk/>
            <pc:sldMk cId="3559694082" sldId="2147309855"/>
            <ac:grpSpMk id="27" creationId="{EB82306C-3C2A-8B29-DA64-792307E98FDF}"/>
          </ac:grpSpMkLst>
        </pc:grpChg>
        <pc:grpChg chg="mod">
          <ac:chgData name="Kau, Derchang" userId="b9148588-e694-4445-9765-2c9aad6149ce" providerId="ADAL" clId="{F798D4AA-0E14-EB43-9CA0-DC099737DEE1}" dt="2023-11-21T04:23:23.173" v="5201"/>
          <ac:grpSpMkLst>
            <pc:docMk/>
            <pc:sldMk cId="3559694082" sldId="2147309855"/>
            <ac:grpSpMk id="28" creationId="{276D670A-3CE2-B554-4290-0182A4550313}"/>
          </ac:grpSpMkLst>
        </pc:grpChg>
        <pc:grpChg chg="mod">
          <ac:chgData name="Kau, Derchang" userId="b9148588-e694-4445-9765-2c9aad6149ce" providerId="ADAL" clId="{F798D4AA-0E14-EB43-9CA0-DC099737DEE1}" dt="2023-11-21T04:23:23.173" v="5201"/>
          <ac:grpSpMkLst>
            <pc:docMk/>
            <pc:sldMk cId="3559694082" sldId="2147309855"/>
            <ac:grpSpMk id="29" creationId="{3644F682-A47D-17A0-AE09-F3A04B6BBE77}"/>
          </ac:grpSpMkLst>
        </pc:grpChg>
        <pc:grpChg chg="mod">
          <ac:chgData name="Kau, Derchang" userId="b9148588-e694-4445-9765-2c9aad6149ce" providerId="ADAL" clId="{F798D4AA-0E14-EB43-9CA0-DC099737DEE1}" dt="2023-11-21T04:23:23.173" v="5201"/>
          <ac:grpSpMkLst>
            <pc:docMk/>
            <pc:sldMk cId="3559694082" sldId="2147309855"/>
            <ac:grpSpMk id="38" creationId="{835C2D43-46D3-A7BB-124B-328920C69425}"/>
          </ac:grpSpMkLst>
        </pc:grpChg>
        <pc:grpChg chg="mod">
          <ac:chgData name="Kau, Derchang" userId="b9148588-e694-4445-9765-2c9aad6149ce" providerId="ADAL" clId="{F798D4AA-0E14-EB43-9CA0-DC099737DEE1}" dt="2023-11-21T04:23:23.173" v="5201"/>
          <ac:grpSpMkLst>
            <pc:docMk/>
            <pc:sldMk cId="3559694082" sldId="2147309855"/>
            <ac:grpSpMk id="39" creationId="{A42741A5-F358-BE6F-D7CF-1E204A47298E}"/>
          </ac:grpSpMkLst>
        </pc:grpChg>
        <pc:grpChg chg="add del mod">
          <ac:chgData name="Kau, Derchang" userId="b9148588-e694-4445-9765-2c9aad6149ce" providerId="ADAL" clId="{F798D4AA-0E14-EB43-9CA0-DC099737DEE1}" dt="2023-11-21T04:50:48.259" v="5654" actId="1037"/>
          <ac:grpSpMkLst>
            <pc:docMk/>
            <pc:sldMk cId="3559694082" sldId="2147309855"/>
            <ac:grpSpMk id="53" creationId="{6F94C5E8-EA7D-0682-3262-803028F735E5}"/>
          </ac:grpSpMkLst>
        </pc:grpChg>
        <pc:grpChg chg="add del mod topLvl">
          <ac:chgData name="Kau, Derchang" userId="b9148588-e694-4445-9765-2c9aad6149ce" providerId="ADAL" clId="{F798D4AA-0E14-EB43-9CA0-DC099737DEE1}" dt="2023-11-21T04:45:31.457" v="5514" actId="478"/>
          <ac:grpSpMkLst>
            <pc:docMk/>
            <pc:sldMk cId="3559694082" sldId="2147309855"/>
            <ac:grpSpMk id="54" creationId="{06C692C9-9813-7233-E903-10975197E772}"/>
          </ac:grpSpMkLst>
        </pc:grpChg>
        <pc:grpChg chg="add del mod">
          <ac:chgData name="Kau, Derchang" userId="b9148588-e694-4445-9765-2c9aad6149ce" providerId="ADAL" clId="{F798D4AA-0E14-EB43-9CA0-DC099737DEE1}" dt="2023-11-21T04:45:31.896" v="5515" actId="478"/>
          <ac:grpSpMkLst>
            <pc:docMk/>
            <pc:sldMk cId="3559694082" sldId="2147309855"/>
            <ac:grpSpMk id="55" creationId="{00899786-55B8-717C-3C8F-5966D130AD65}"/>
          </ac:grpSpMkLst>
        </pc:grpChg>
        <pc:grpChg chg="add del mod">
          <ac:chgData name="Kau, Derchang" userId="b9148588-e694-4445-9765-2c9aad6149ce" providerId="ADAL" clId="{F798D4AA-0E14-EB43-9CA0-DC099737DEE1}" dt="2023-11-21T04:50:30.228" v="5607" actId="478"/>
          <ac:grpSpMkLst>
            <pc:docMk/>
            <pc:sldMk cId="3559694082" sldId="2147309855"/>
            <ac:grpSpMk id="64" creationId="{52DDCEBE-C4EC-91E6-D108-F0319FC72DB3}"/>
          </ac:grpSpMkLst>
        </pc:grpChg>
        <pc:grpChg chg="mod">
          <ac:chgData name="Kau, Derchang" userId="b9148588-e694-4445-9765-2c9aad6149ce" providerId="ADAL" clId="{F798D4AA-0E14-EB43-9CA0-DC099737DEE1}" dt="2023-11-21T04:26:54.638" v="5301"/>
          <ac:grpSpMkLst>
            <pc:docMk/>
            <pc:sldMk cId="3559694082" sldId="2147309855"/>
            <ac:grpSpMk id="65" creationId="{A34B86F0-7E01-A68F-7CF2-F94BDB9D2E52}"/>
          </ac:grpSpMkLst>
        </pc:grpChg>
        <pc:grpChg chg="mod">
          <ac:chgData name="Kau, Derchang" userId="b9148588-e694-4445-9765-2c9aad6149ce" providerId="ADAL" clId="{F798D4AA-0E14-EB43-9CA0-DC099737DEE1}" dt="2023-11-21T04:26:54.638" v="5301"/>
          <ac:grpSpMkLst>
            <pc:docMk/>
            <pc:sldMk cId="3559694082" sldId="2147309855"/>
            <ac:grpSpMk id="66" creationId="{1AD3C2D0-142B-866B-26C4-CF5516AEE8A3}"/>
          </ac:grpSpMkLst>
        </pc:grpChg>
        <pc:grpChg chg="mod">
          <ac:chgData name="Kau, Derchang" userId="b9148588-e694-4445-9765-2c9aad6149ce" providerId="ADAL" clId="{F798D4AA-0E14-EB43-9CA0-DC099737DEE1}" dt="2023-11-21T04:26:54.638" v="5301"/>
          <ac:grpSpMkLst>
            <pc:docMk/>
            <pc:sldMk cId="3559694082" sldId="2147309855"/>
            <ac:grpSpMk id="67" creationId="{ACE56C8C-2BBE-9DA3-BD0D-3322BCBB3C4B}"/>
          </ac:grpSpMkLst>
        </pc:grpChg>
        <pc:grpChg chg="mod">
          <ac:chgData name="Kau, Derchang" userId="b9148588-e694-4445-9765-2c9aad6149ce" providerId="ADAL" clId="{F798D4AA-0E14-EB43-9CA0-DC099737DEE1}" dt="2023-11-21T04:26:54.638" v="5301"/>
          <ac:grpSpMkLst>
            <pc:docMk/>
            <pc:sldMk cId="3559694082" sldId="2147309855"/>
            <ac:grpSpMk id="68" creationId="{D5BFDEF6-94BB-1620-166C-B43161BC64B3}"/>
          </ac:grpSpMkLst>
        </pc:grpChg>
        <pc:grpChg chg="mod">
          <ac:chgData name="Kau, Derchang" userId="b9148588-e694-4445-9765-2c9aad6149ce" providerId="ADAL" clId="{F798D4AA-0E14-EB43-9CA0-DC099737DEE1}" dt="2023-11-21T04:26:54.638" v="5301"/>
          <ac:grpSpMkLst>
            <pc:docMk/>
            <pc:sldMk cId="3559694082" sldId="2147309855"/>
            <ac:grpSpMk id="77" creationId="{051DA8D4-AC97-AEEB-0287-16642E133FBA}"/>
          </ac:grpSpMkLst>
        </pc:grpChg>
        <pc:grpChg chg="mod">
          <ac:chgData name="Kau, Derchang" userId="b9148588-e694-4445-9765-2c9aad6149ce" providerId="ADAL" clId="{F798D4AA-0E14-EB43-9CA0-DC099737DEE1}" dt="2023-11-21T04:26:54.638" v="5301"/>
          <ac:grpSpMkLst>
            <pc:docMk/>
            <pc:sldMk cId="3559694082" sldId="2147309855"/>
            <ac:grpSpMk id="78" creationId="{9F773197-3C52-A8DA-FE7D-90ACF498341B}"/>
          </ac:grpSpMkLst>
        </pc:grpChg>
        <pc:grpChg chg="add del mod">
          <ac:chgData name="Kau, Derchang" userId="b9148588-e694-4445-9765-2c9aad6149ce" providerId="ADAL" clId="{F798D4AA-0E14-EB43-9CA0-DC099737DEE1}" dt="2023-11-21T04:40:14.551" v="5454"/>
          <ac:grpSpMkLst>
            <pc:docMk/>
            <pc:sldMk cId="3559694082" sldId="2147309855"/>
            <ac:grpSpMk id="89" creationId="{DA0C9769-D612-269F-5C58-2B3F6E3FC15B}"/>
          </ac:grpSpMkLst>
        </pc:grpChg>
        <pc:grpChg chg="mod">
          <ac:chgData name="Kau, Derchang" userId="b9148588-e694-4445-9765-2c9aad6149ce" providerId="ADAL" clId="{F798D4AA-0E14-EB43-9CA0-DC099737DEE1}" dt="2023-11-21T04:40:09.412" v="5451"/>
          <ac:grpSpMkLst>
            <pc:docMk/>
            <pc:sldMk cId="3559694082" sldId="2147309855"/>
            <ac:grpSpMk id="90" creationId="{8B5E82AE-D207-F960-82F3-14C5096D25F9}"/>
          </ac:grpSpMkLst>
        </pc:grpChg>
        <pc:grpChg chg="mod">
          <ac:chgData name="Kau, Derchang" userId="b9148588-e694-4445-9765-2c9aad6149ce" providerId="ADAL" clId="{F798D4AA-0E14-EB43-9CA0-DC099737DEE1}" dt="2023-11-21T04:40:09.412" v="5451"/>
          <ac:grpSpMkLst>
            <pc:docMk/>
            <pc:sldMk cId="3559694082" sldId="2147309855"/>
            <ac:grpSpMk id="91" creationId="{9E22EB93-92EA-50DB-2CD4-6D6AA5212400}"/>
          </ac:grpSpMkLst>
        </pc:grpChg>
        <pc:grpChg chg="add del mod">
          <ac:chgData name="Kau, Derchang" userId="b9148588-e694-4445-9765-2c9aad6149ce" providerId="ADAL" clId="{F798D4AA-0E14-EB43-9CA0-DC099737DEE1}" dt="2023-11-21T04:43:33.454" v="5495" actId="478"/>
          <ac:grpSpMkLst>
            <pc:docMk/>
            <pc:sldMk cId="3559694082" sldId="2147309855"/>
            <ac:grpSpMk id="100" creationId="{D30B3C1D-3DAF-47D3-0CB0-C3EFCC546CAF}"/>
          </ac:grpSpMkLst>
        </pc:grpChg>
        <pc:grpChg chg="mod">
          <ac:chgData name="Kau, Derchang" userId="b9148588-e694-4445-9765-2c9aad6149ce" providerId="ADAL" clId="{F798D4AA-0E14-EB43-9CA0-DC099737DEE1}" dt="2023-11-21T04:40:32.143" v="5463"/>
          <ac:grpSpMkLst>
            <pc:docMk/>
            <pc:sldMk cId="3559694082" sldId="2147309855"/>
            <ac:grpSpMk id="101" creationId="{3A559E31-CE75-80E3-94FE-907C7E86B32F}"/>
          </ac:grpSpMkLst>
        </pc:grpChg>
        <pc:grpChg chg="mod">
          <ac:chgData name="Kau, Derchang" userId="b9148588-e694-4445-9765-2c9aad6149ce" providerId="ADAL" clId="{F798D4AA-0E14-EB43-9CA0-DC099737DEE1}" dt="2023-11-21T04:40:32.143" v="5463"/>
          <ac:grpSpMkLst>
            <pc:docMk/>
            <pc:sldMk cId="3559694082" sldId="2147309855"/>
            <ac:grpSpMk id="102" creationId="{61D809D6-A9A4-1B8A-DDF2-0FED8BED9245}"/>
          </ac:grpSpMkLst>
        </pc:grpChg>
        <pc:grpChg chg="add del mod">
          <ac:chgData name="Kau, Derchang" userId="b9148588-e694-4445-9765-2c9aad6149ce" providerId="ADAL" clId="{F798D4AA-0E14-EB43-9CA0-DC099737DEE1}" dt="2023-11-21T04:43:43.335" v="5499" actId="478"/>
          <ac:grpSpMkLst>
            <pc:docMk/>
            <pc:sldMk cId="3559694082" sldId="2147309855"/>
            <ac:grpSpMk id="112" creationId="{542CC732-E756-FE86-A22D-CAACD5FC2572}"/>
          </ac:grpSpMkLst>
        </pc:grpChg>
        <pc:grpChg chg="mod">
          <ac:chgData name="Kau, Derchang" userId="b9148588-e694-4445-9765-2c9aad6149ce" providerId="ADAL" clId="{F798D4AA-0E14-EB43-9CA0-DC099737DEE1}" dt="2023-11-21T04:43:35.465" v="5496"/>
          <ac:grpSpMkLst>
            <pc:docMk/>
            <pc:sldMk cId="3559694082" sldId="2147309855"/>
            <ac:grpSpMk id="113" creationId="{4CF65521-823F-85A0-498E-236DA3AD9450}"/>
          </ac:grpSpMkLst>
        </pc:grpChg>
        <pc:grpChg chg="mod">
          <ac:chgData name="Kau, Derchang" userId="b9148588-e694-4445-9765-2c9aad6149ce" providerId="ADAL" clId="{F798D4AA-0E14-EB43-9CA0-DC099737DEE1}" dt="2023-11-21T04:43:35.465" v="5496"/>
          <ac:grpSpMkLst>
            <pc:docMk/>
            <pc:sldMk cId="3559694082" sldId="2147309855"/>
            <ac:grpSpMk id="114" creationId="{2585F494-79A1-65D8-1239-381A77E416EB}"/>
          </ac:grpSpMkLst>
        </pc:grpChg>
        <pc:grpChg chg="add mod">
          <ac:chgData name="Kau, Derchang" userId="b9148588-e694-4445-9765-2c9aad6149ce" providerId="ADAL" clId="{F798D4AA-0E14-EB43-9CA0-DC099737DEE1}" dt="2023-11-21T04:50:48.259" v="5654" actId="1037"/>
          <ac:grpSpMkLst>
            <pc:docMk/>
            <pc:sldMk cId="3559694082" sldId="2147309855"/>
            <ac:grpSpMk id="123" creationId="{060522DA-5FF9-BB05-1FE6-3A8AE8D83806}"/>
          </ac:grpSpMkLst>
        </pc:grpChg>
        <pc:grpChg chg="mod">
          <ac:chgData name="Kau, Derchang" userId="b9148588-e694-4445-9765-2c9aad6149ce" providerId="ADAL" clId="{F798D4AA-0E14-EB43-9CA0-DC099737DEE1}" dt="2023-11-21T04:44:49.363" v="5502"/>
          <ac:grpSpMkLst>
            <pc:docMk/>
            <pc:sldMk cId="3559694082" sldId="2147309855"/>
            <ac:grpSpMk id="124" creationId="{A0FEB477-96AD-E6A9-8E6D-CF85D56DABA9}"/>
          </ac:grpSpMkLst>
        </pc:grpChg>
        <pc:grpChg chg="mod">
          <ac:chgData name="Kau, Derchang" userId="b9148588-e694-4445-9765-2c9aad6149ce" providerId="ADAL" clId="{F798D4AA-0E14-EB43-9CA0-DC099737DEE1}" dt="2023-11-21T04:44:49.363" v="5502"/>
          <ac:grpSpMkLst>
            <pc:docMk/>
            <pc:sldMk cId="3559694082" sldId="2147309855"/>
            <ac:grpSpMk id="125" creationId="{2687A932-866A-8213-3C81-6D5432815CA7}"/>
          </ac:grpSpMkLst>
        </pc:grpChg>
        <pc:grpChg chg="add mod">
          <ac:chgData name="Kau, Derchang" userId="b9148588-e694-4445-9765-2c9aad6149ce" providerId="ADAL" clId="{F798D4AA-0E14-EB43-9CA0-DC099737DEE1}" dt="2023-11-21T04:50:48.259" v="5654" actId="1037"/>
          <ac:grpSpMkLst>
            <pc:docMk/>
            <pc:sldMk cId="3559694082" sldId="2147309855"/>
            <ac:grpSpMk id="134" creationId="{E529C4F3-4BF6-3D54-455A-4A619868E818}"/>
          </ac:grpSpMkLst>
        </pc:grpChg>
        <pc:grpChg chg="mod">
          <ac:chgData name="Kau, Derchang" userId="b9148588-e694-4445-9765-2c9aad6149ce" providerId="ADAL" clId="{F798D4AA-0E14-EB43-9CA0-DC099737DEE1}" dt="2023-11-21T04:45:44.830" v="5520"/>
          <ac:grpSpMkLst>
            <pc:docMk/>
            <pc:sldMk cId="3559694082" sldId="2147309855"/>
            <ac:grpSpMk id="136" creationId="{731515DE-8FE7-99D7-E0EE-C1EB12D27AFA}"/>
          </ac:grpSpMkLst>
        </pc:grpChg>
        <pc:grpChg chg="add">
          <ac:chgData name="Kau, Derchang" userId="b9148588-e694-4445-9765-2c9aad6149ce" providerId="ADAL" clId="{F798D4AA-0E14-EB43-9CA0-DC099737DEE1}" dt="2023-11-21T04:50:54.584" v="5655" actId="164"/>
          <ac:grpSpMkLst>
            <pc:docMk/>
            <pc:sldMk cId="3559694082" sldId="2147309855"/>
            <ac:grpSpMk id="142" creationId="{24FEE535-7812-D28B-2413-8C6371F57A93}"/>
          </ac:grpSpMkLst>
        </pc:grpChg>
        <pc:grpChg chg="add">
          <ac:chgData name="Kau, Derchang" userId="b9148588-e694-4445-9765-2c9aad6149ce" providerId="ADAL" clId="{F798D4AA-0E14-EB43-9CA0-DC099737DEE1}" dt="2023-11-21T04:51:02.293" v="5656" actId="164"/>
          <ac:grpSpMkLst>
            <pc:docMk/>
            <pc:sldMk cId="3559694082" sldId="2147309855"/>
            <ac:grpSpMk id="143" creationId="{992B9DBC-AA07-170F-147D-7F084E05A4AF}"/>
          </ac:grpSpMkLst>
        </pc:grpChg>
        <pc:grpChg chg="add">
          <ac:chgData name="Kau, Derchang" userId="b9148588-e694-4445-9765-2c9aad6149ce" providerId="ADAL" clId="{F798D4AA-0E14-EB43-9CA0-DC099737DEE1}" dt="2023-11-21T05:26:11.567" v="5813" actId="164"/>
          <ac:grpSpMkLst>
            <pc:docMk/>
            <pc:sldMk cId="3559694082" sldId="2147309855"/>
            <ac:grpSpMk id="151" creationId="{6B7151D8-5438-6B47-35B6-26C71D2F4DFA}"/>
          </ac:grpSpMkLst>
        </pc:grpChg>
        <pc:grpChg chg="add">
          <ac:chgData name="Kau, Derchang" userId="b9148588-e694-4445-9765-2c9aad6149ce" providerId="ADAL" clId="{F798D4AA-0E14-EB43-9CA0-DC099737DEE1}" dt="2023-11-21T05:27:08.377" v="5820" actId="164"/>
          <ac:grpSpMkLst>
            <pc:docMk/>
            <pc:sldMk cId="3559694082" sldId="2147309855"/>
            <ac:grpSpMk id="152" creationId="{12442813-87EF-995E-30F9-9EDA874B71F3}"/>
          </ac:grpSpMkLst>
        </pc:grpChg>
        <pc:picChg chg="add mod">
          <ac:chgData name="Kau, Derchang" userId="b9148588-e694-4445-9765-2c9aad6149ce" providerId="ADAL" clId="{F798D4AA-0E14-EB43-9CA0-DC099737DEE1}" dt="2023-11-21T04:50:48.259" v="5654" actId="1037"/>
          <ac:picMkLst>
            <pc:docMk/>
            <pc:sldMk cId="3559694082" sldId="2147309855"/>
            <ac:picMk id="3" creationId="{663BA9C3-C111-373B-B4A9-0241F2747822}"/>
          </ac:picMkLst>
        </pc:picChg>
        <pc:picChg chg="add mod">
          <ac:chgData name="Kau, Derchang" userId="b9148588-e694-4445-9765-2c9aad6149ce" providerId="ADAL" clId="{F798D4AA-0E14-EB43-9CA0-DC099737DEE1}" dt="2023-11-21T04:50:48.259" v="5654" actId="1037"/>
          <ac:picMkLst>
            <pc:docMk/>
            <pc:sldMk cId="3559694082" sldId="2147309855"/>
            <ac:picMk id="4" creationId="{8C35E9B9-D906-D17B-A1DE-991A190B43AD}"/>
          </ac:picMkLst>
        </pc:picChg>
        <pc:picChg chg="add del mod">
          <ac:chgData name="Kau, Derchang" userId="b9148588-e694-4445-9765-2c9aad6149ce" providerId="ADAL" clId="{F798D4AA-0E14-EB43-9CA0-DC099737DEE1}" dt="2023-11-21T04:21:28.485" v="5200" actId="478"/>
          <ac:picMkLst>
            <pc:docMk/>
            <pc:sldMk cId="3559694082" sldId="2147309855"/>
            <ac:picMk id="5" creationId="{9B768D16-CB65-4A1B-0CE7-F65510D841C8}"/>
          </ac:picMkLst>
        </pc:picChg>
        <pc:picChg chg="add del mod">
          <ac:chgData name="Kau, Derchang" userId="b9148588-e694-4445-9765-2c9aad6149ce" providerId="ADAL" clId="{F798D4AA-0E14-EB43-9CA0-DC099737DEE1}" dt="2023-11-21T04:18:38.483" v="5172" actId="478"/>
          <ac:picMkLst>
            <pc:docMk/>
            <pc:sldMk cId="3559694082" sldId="2147309855"/>
            <ac:picMk id="6" creationId="{67099C4B-7147-BF8A-FF08-34DD0C58C2FB}"/>
          </ac:picMkLst>
        </pc:picChg>
        <pc:picChg chg="mod">
          <ac:chgData name="Kau, Derchang" userId="b9148588-e694-4445-9765-2c9aad6149ce" providerId="ADAL" clId="{F798D4AA-0E14-EB43-9CA0-DC099737DEE1}" dt="2023-11-21T04:17:39.812" v="5163" actId="207"/>
          <ac:picMkLst>
            <pc:docMk/>
            <pc:sldMk cId="3559694082" sldId="2147309855"/>
            <ac:picMk id="8" creationId="{86A6BF4E-4147-08F7-CF3B-0966E0B949BA}"/>
          </ac:picMkLst>
        </pc:picChg>
        <pc:picChg chg="mod">
          <ac:chgData name="Kau, Derchang" userId="b9148588-e694-4445-9765-2c9aad6149ce" providerId="ADAL" clId="{F798D4AA-0E14-EB43-9CA0-DC099737DEE1}" dt="2023-11-21T04:21:00.261" v="5196" actId="207"/>
          <ac:picMkLst>
            <pc:docMk/>
            <pc:sldMk cId="3559694082" sldId="2147309855"/>
            <ac:picMk id="11" creationId="{7C95F564-D2AB-E958-7E83-5EFDEA4C5D6D}"/>
          </ac:picMkLst>
        </pc:picChg>
        <pc:picChg chg="add mod modCrop">
          <ac:chgData name="Kau, Derchang" userId="b9148588-e694-4445-9765-2c9aad6149ce" providerId="ADAL" clId="{F798D4AA-0E14-EB43-9CA0-DC099737DEE1}" dt="2023-11-21T05:26:55.966" v="5818" actId="732"/>
          <ac:picMkLst>
            <pc:docMk/>
            <pc:sldMk cId="3559694082" sldId="2147309855"/>
            <ac:picMk id="144" creationId="{0577F080-EBF0-3D90-17D3-4A2D588D57CB}"/>
          </ac:picMkLst>
        </pc:picChg>
        <pc:picChg chg="add del mod modCrop">
          <ac:chgData name="Kau, Derchang" userId="b9148588-e694-4445-9765-2c9aad6149ce" providerId="ADAL" clId="{F798D4AA-0E14-EB43-9CA0-DC099737DEE1}" dt="2023-11-21T05:06:38.911" v="5713" actId="478"/>
          <ac:picMkLst>
            <pc:docMk/>
            <pc:sldMk cId="3559694082" sldId="2147309855"/>
            <ac:picMk id="146" creationId="{403D1718-AC17-0956-3DAF-F23B23FF2351}"/>
          </ac:picMkLst>
        </pc:picChg>
        <pc:picChg chg="add mod">
          <ac:chgData name="Kau, Derchang" userId="b9148588-e694-4445-9765-2c9aad6149ce" providerId="ADAL" clId="{F798D4AA-0E14-EB43-9CA0-DC099737DEE1}" dt="2023-11-21T05:19:42.109" v="5808" actId="1076"/>
          <ac:picMkLst>
            <pc:docMk/>
            <pc:sldMk cId="3559694082" sldId="2147309855"/>
            <ac:picMk id="147" creationId="{87B8ED7A-7200-9BFB-C13C-CC5BD2F004EF}"/>
          </ac:picMkLst>
        </pc:picChg>
        <pc:picChg chg="add mod">
          <ac:chgData name="Kau, Derchang" userId="b9148588-e694-4445-9765-2c9aad6149ce" providerId="ADAL" clId="{F798D4AA-0E14-EB43-9CA0-DC099737DEE1}" dt="2023-11-21T05:19:42.109" v="5808" actId="1076"/>
          <ac:picMkLst>
            <pc:docMk/>
            <pc:sldMk cId="3559694082" sldId="2147309855"/>
            <ac:picMk id="148" creationId="{6A925BDA-ADA2-2C22-ABA8-A6885F5731E6}"/>
          </ac:picMkLst>
        </pc:picChg>
        <pc:picChg chg="add del mod modCrop">
          <ac:chgData name="Kau, Derchang" userId="b9148588-e694-4445-9765-2c9aad6149ce" providerId="ADAL" clId="{F798D4AA-0E14-EB43-9CA0-DC099737DEE1}" dt="2023-11-21T05:18:02.007" v="5744" actId="478"/>
          <ac:picMkLst>
            <pc:docMk/>
            <pc:sldMk cId="3559694082" sldId="2147309855"/>
            <ac:picMk id="149" creationId="{C607111B-6241-144F-825D-DC733A749DCB}"/>
          </ac:picMkLst>
        </pc:picChg>
      </pc:sldChg>
      <pc:sldChg chg="addSp modSp new mod ord">
        <pc:chgData name="Kau, Derchang" userId="b9148588-e694-4445-9765-2c9aad6149ce" providerId="ADAL" clId="{F798D4AA-0E14-EB43-9CA0-DC099737DEE1}" dt="2023-11-21T00:33:33.386" v="5020" actId="1076"/>
        <pc:sldMkLst>
          <pc:docMk/>
          <pc:sldMk cId="4165855084" sldId="2147309856"/>
        </pc:sldMkLst>
        <pc:spChg chg="mod">
          <ac:chgData name="Kau, Derchang" userId="b9148588-e694-4445-9765-2c9aad6149ce" providerId="ADAL" clId="{F798D4AA-0E14-EB43-9CA0-DC099737DEE1}" dt="2023-11-21T00:33:14.980" v="5015" actId="20577"/>
          <ac:spMkLst>
            <pc:docMk/>
            <pc:sldMk cId="4165855084" sldId="2147309856"/>
            <ac:spMk id="2" creationId="{C661C233-2EA3-FD8A-569F-F54B17BDC40E}"/>
          </ac:spMkLst>
        </pc:spChg>
        <pc:picChg chg="add mod">
          <ac:chgData name="Kau, Derchang" userId="b9148588-e694-4445-9765-2c9aad6149ce" providerId="ADAL" clId="{F798D4AA-0E14-EB43-9CA0-DC099737DEE1}" dt="2023-11-20T23:06:04.792" v="4993" actId="1076"/>
          <ac:picMkLst>
            <pc:docMk/>
            <pc:sldMk cId="4165855084" sldId="2147309856"/>
            <ac:picMk id="3" creationId="{CD16992B-244D-8FEF-D1B9-E07D4C76728C}"/>
          </ac:picMkLst>
        </pc:picChg>
        <pc:picChg chg="add mod">
          <ac:chgData name="Kau, Derchang" userId="b9148588-e694-4445-9765-2c9aad6149ce" providerId="ADAL" clId="{F798D4AA-0E14-EB43-9CA0-DC099737DEE1}" dt="2023-11-21T00:33:33.386" v="5020" actId="1076"/>
          <ac:picMkLst>
            <pc:docMk/>
            <pc:sldMk cId="4165855084" sldId="2147309856"/>
            <ac:picMk id="4" creationId="{30E8127F-019E-E071-D76B-800F08314A6A}"/>
          </ac:picMkLst>
        </pc:picChg>
      </pc:sldChg>
      <pc:sldChg chg="delSp modSp add mod">
        <pc:chgData name="Kau, Derchang" userId="b9148588-e694-4445-9765-2c9aad6149ce" providerId="ADAL" clId="{F798D4AA-0E14-EB43-9CA0-DC099737DEE1}" dt="2023-11-21T10:39:50.387" v="7195" actId="20577"/>
        <pc:sldMkLst>
          <pc:docMk/>
          <pc:sldMk cId="1859843188" sldId="2147309857"/>
        </pc:sldMkLst>
        <pc:spChg chg="mod">
          <ac:chgData name="Kau, Derchang" userId="b9148588-e694-4445-9765-2c9aad6149ce" providerId="ADAL" clId="{F798D4AA-0E14-EB43-9CA0-DC099737DEE1}" dt="2023-11-21T10:39:50.387" v="7195" actId="20577"/>
          <ac:spMkLst>
            <pc:docMk/>
            <pc:sldMk cId="1859843188" sldId="2147309857"/>
            <ac:spMk id="2" creationId="{A018CC43-5104-13AC-3DEC-C14B148C06D6}"/>
          </ac:spMkLst>
        </pc:spChg>
        <pc:spChg chg="del">
          <ac:chgData name="Kau, Derchang" userId="b9148588-e694-4445-9765-2c9aad6149ce" providerId="ADAL" clId="{F798D4AA-0E14-EB43-9CA0-DC099737DEE1}" dt="2023-11-21T05:17:35.195" v="5741" actId="478"/>
          <ac:spMkLst>
            <pc:docMk/>
            <pc:sldMk cId="1859843188" sldId="2147309857"/>
            <ac:spMk id="145" creationId="{996E5213-2F43-F986-31B7-17946BE7BE6F}"/>
          </ac:spMkLst>
        </pc:spChg>
        <pc:grpChg chg="del">
          <ac:chgData name="Kau, Derchang" userId="b9148588-e694-4445-9765-2c9aad6149ce" providerId="ADAL" clId="{F798D4AA-0E14-EB43-9CA0-DC099737DEE1}" dt="2023-11-21T05:17:46.765" v="5742" actId="478"/>
          <ac:grpSpMkLst>
            <pc:docMk/>
            <pc:sldMk cId="1859843188" sldId="2147309857"/>
            <ac:grpSpMk id="142" creationId="{24FEE535-7812-D28B-2413-8C6371F57A93}"/>
          </ac:grpSpMkLst>
        </pc:grpChg>
        <pc:grpChg chg="del">
          <ac:chgData name="Kau, Derchang" userId="b9148588-e694-4445-9765-2c9aad6149ce" providerId="ADAL" clId="{F798D4AA-0E14-EB43-9CA0-DC099737DEE1}" dt="2023-11-21T05:17:46.765" v="5742" actId="478"/>
          <ac:grpSpMkLst>
            <pc:docMk/>
            <pc:sldMk cId="1859843188" sldId="2147309857"/>
            <ac:grpSpMk id="143" creationId="{992B9DBC-AA07-170F-147D-7F084E05A4AF}"/>
          </ac:grpSpMkLst>
        </pc:grpChg>
        <pc:picChg chg="del">
          <ac:chgData name="Kau, Derchang" userId="b9148588-e694-4445-9765-2c9aad6149ce" providerId="ADAL" clId="{F798D4AA-0E14-EB43-9CA0-DC099737DEE1}" dt="2023-11-21T05:17:35.195" v="5741" actId="478"/>
          <ac:picMkLst>
            <pc:docMk/>
            <pc:sldMk cId="1859843188" sldId="2147309857"/>
            <ac:picMk id="144" creationId="{0577F080-EBF0-3D90-17D3-4A2D588D57CB}"/>
          </ac:picMkLst>
        </pc:picChg>
        <pc:picChg chg="del">
          <ac:chgData name="Kau, Derchang" userId="b9148588-e694-4445-9765-2c9aad6149ce" providerId="ADAL" clId="{F798D4AA-0E14-EB43-9CA0-DC099737DEE1}" dt="2023-11-21T05:17:35.195" v="5741" actId="478"/>
          <ac:picMkLst>
            <pc:docMk/>
            <pc:sldMk cId="1859843188" sldId="2147309857"/>
            <ac:picMk id="147" creationId="{87B8ED7A-7200-9BFB-C13C-CC5BD2F004EF}"/>
          </ac:picMkLst>
        </pc:picChg>
        <pc:picChg chg="del">
          <ac:chgData name="Kau, Derchang" userId="b9148588-e694-4445-9765-2c9aad6149ce" providerId="ADAL" clId="{F798D4AA-0E14-EB43-9CA0-DC099737DEE1}" dt="2023-11-21T05:17:35.195" v="5741" actId="478"/>
          <ac:picMkLst>
            <pc:docMk/>
            <pc:sldMk cId="1859843188" sldId="2147309857"/>
            <ac:picMk id="148" creationId="{6A925BDA-ADA2-2C22-ABA8-A6885F5731E6}"/>
          </ac:picMkLst>
        </pc:picChg>
        <pc:picChg chg="mod">
          <ac:chgData name="Kau, Derchang" userId="b9148588-e694-4445-9765-2c9aad6149ce" providerId="ADAL" clId="{F798D4AA-0E14-EB43-9CA0-DC099737DEE1}" dt="2023-11-21T05:17:50.604" v="5743" actId="1076"/>
          <ac:picMkLst>
            <pc:docMk/>
            <pc:sldMk cId="1859843188" sldId="2147309857"/>
            <ac:picMk id="149" creationId="{C607111B-6241-144F-825D-DC733A749DCB}"/>
          </ac:picMkLst>
        </pc:picChg>
      </pc:sldChg>
      <pc:sldChg chg="modSp add mod">
        <pc:chgData name="Kau, Derchang" userId="b9148588-e694-4445-9765-2c9aad6149ce" providerId="ADAL" clId="{F798D4AA-0E14-EB43-9CA0-DC099737DEE1}" dt="2023-11-21T10:50:56.287" v="7248" actId="20577"/>
        <pc:sldMkLst>
          <pc:docMk/>
          <pc:sldMk cId="456942284" sldId="2147309858"/>
        </pc:sldMkLst>
        <pc:spChg chg="mod">
          <ac:chgData name="Kau, Derchang" userId="b9148588-e694-4445-9765-2c9aad6149ce" providerId="ADAL" clId="{F798D4AA-0E14-EB43-9CA0-DC099737DEE1}" dt="2023-11-21T10:50:56.287" v="7248" actId="20577"/>
          <ac:spMkLst>
            <pc:docMk/>
            <pc:sldMk cId="456942284" sldId="2147309858"/>
            <ac:spMk id="135" creationId="{C15C606D-A693-FB8A-2466-CF3BCFE8F859}"/>
          </ac:spMkLst>
        </pc:spChg>
      </pc:sldChg>
      <pc:sldChg chg="modSp add del mod">
        <pc:chgData name="Kau, Derchang" userId="b9148588-e694-4445-9765-2c9aad6149ce" providerId="ADAL" clId="{F798D4AA-0E14-EB43-9CA0-DC099737DEE1}" dt="2023-11-27T21:06:53.502" v="8400" actId="21"/>
        <pc:sldMkLst>
          <pc:docMk/>
          <pc:sldMk cId="2377406945" sldId="2147309859"/>
        </pc:sldMkLst>
        <pc:spChg chg="mod">
          <ac:chgData name="Kau, Derchang" userId="b9148588-e694-4445-9765-2c9aad6149ce" providerId="ADAL" clId="{F798D4AA-0E14-EB43-9CA0-DC099737DEE1}" dt="2023-11-27T21:06:53.502" v="8400" actId="21"/>
          <ac:spMkLst>
            <pc:docMk/>
            <pc:sldMk cId="2377406945" sldId="2147309859"/>
            <ac:spMk id="2" creationId="{151ABABF-1912-AD4E-BC45-28EAE79AEEA0}"/>
          </ac:spMkLst>
        </pc:spChg>
        <pc:spChg chg="mod">
          <ac:chgData name="Kau, Derchang" userId="b9148588-e694-4445-9765-2c9aad6149ce" providerId="ADAL" clId="{F798D4AA-0E14-EB43-9CA0-DC099737DEE1}" dt="2023-11-21T05:34:48.617" v="5900" actId="404"/>
          <ac:spMkLst>
            <pc:docMk/>
            <pc:sldMk cId="2377406945" sldId="2147309859"/>
            <ac:spMk id="3" creationId="{BD61A205-E58C-1251-9045-43E75AB05619}"/>
          </ac:spMkLst>
        </pc:spChg>
      </pc:sldChg>
      <pc:sldChg chg="add del">
        <pc:chgData name="Kau, Derchang" userId="b9148588-e694-4445-9765-2c9aad6149ce" providerId="ADAL" clId="{F798D4AA-0E14-EB43-9CA0-DC099737DEE1}" dt="2023-11-27T21:06:12.937" v="8394"/>
        <pc:sldMkLst>
          <pc:docMk/>
          <pc:sldMk cId="3781434813" sldId="2147309859"/>
        </pc:sldMkLst>
      </pc:sldChg>
      <pc:sldChg chg="addSp delSp modSp new mod modClrScheme delAnim modAnim chgLayout">
        <pc:chgData name="Kau, Derchang" userId="b9148588-e694-4445-9765-2c9aad6149ce" providerId="ADAL" clId="{F798D4AA-0E14-EB43-9CA0-DC099737DEE1}" dt="2023-11-27T22:59:05.692" v="8960" actId="1076"/>
        <pc:sldMkLst>
          <pc:docMk/>
          <pc:sldMk cId="1317308889" sldId="2147309860"/>
        </pc:sldMkLst>
        <pc:spChg chg="del mod ord">
          <ac:chgData name="Kau, Derchang" userId="b9148588-e694-4445-9765-2c9aad6149ce" providerId="ADAL" clId="{F798D4AA-0E14-EB43-9CA0-DC099737DEE1}" dt="2023-11-21T06:12:47.257" v="6093" actId="700"/>
          <ac:spMkLst>
            <pc:docMk/>
            <pc:sldMk cId="1317308889" sldId="2147309860"/>
            <ac:spMk id="2" creationId="{1497822D-A23D-9A8A-F2E8-F9416E6F5156}"/>
          </ac:spMkLst>
        </pc:spChg>
        <pc:spChg chg="add mod">
          <ac:chgData name="Kau, Derchang" userId="b9148588-e694-4445-9765-2c9aad6149ce" providerId="ADAL" clId="{F798D4AA-0E14-EB43-9CA0-DC099737DEE1}" dt="2023-11-27T22:58:21.016" v="8954" actId="1076"/>
          <ac:spMkLst>
            <pc:docMk/>
            <pc:sldMk cId="1317308889" sldId="2147309860"/>
            <ac:spMk id="2" creationId="{D28EB753-2504-A428-8E4A-6651D553C288}"/>
          </ac:spMkLst>
        </pc:spChg>
        <pc:spChg chg="del">
          <ac:chgData name="Kau, Derchang" userId="b9148588-e694-4445-9765-2c9aad6149ce" providerId="ADAL" clId="{F798D4AA-0E14-EB43-9CA0-DC099737DEE1}" dt="2023-11-21T06:12:47.257" v="6093" actId="700"/>
          <ac:spMkLst>
            <pc:docMk/>
            <pc:sldMk cId="1317308889" sldId="2147309860"/>
            <ac:spMk id="3" creationId="{1068285B-CCA9-5AA7-9973-8DDAC12B50EF}"/>
          </ac:spMkLst>
        </pc:spChg>
        <pc:spChg chg="add del mod">
          <ac:chgData name="Kau, Derchang" userId="b9148588-e694-4445-9765-2c9aad6149ce" providerId="ADAL" clId="{F798D4AA-0E14-EB43-9CA0-DC099737DEE1}" dt="2023-11-27T22:59:05.692" v="8960" actId="1076"/>
          <ac:spMkLst>
            <pc:docMk/>
            <pc:sldMk cId="1317308889" sldId="2147309860"/>
            <ac:spMk id="3" creationId="{B370D160-1F27-2FF8-26A3-2BF2F1AD284B}"/>
          </ac:spMkLst>
        </pc:spChg>
        <pc:spChg chg="add del mod ord">
          <ac:chgData name="Kau, Derchang" userId="b9148588-e694-4445-9765-2c9aad6149ce" providerId="ADAL" clId="{F798D4AA-0E14-EB43-9CA0-DC099737DEE1}" dt="2023-11-21T06:44:13.752" v="6917" actId="20577"/>
          <ac:spMkLst>
            <pc:docMk/>
            <pc:sldMk cId="1317308889" sldId="2147309860"/>
            <ac:spMk id="4" creationId="{0DFB7F33-F72C-4045-5011-B544E6FB6B0B}"/>
          </ac:spMkLst>
        </pc:spChg>
        <pc:spChg chg="del mod topLvl">
          <ac:chgData name="Kau, Derchang" userId="b9148588-e694-4445-9765-2c9aad6149ce" providerId="ADAL" clId="{F798D4AA-0E14-EB43-9CA0-DC099737DEE1}" dt="2023-11-21T06:13:20.670" v="6100" actId="478"/>
          <ac:spMkLst>
            <pc:docMk/>
            <pc:sldMk cId="1317308889" sldId="2147309860"/>
            <ac:spMk id="7" creationId="{A5BFBF03-50E4-5C21-3383-7CCBDAFCED8F}"/>
          </ac:spMkLst>
        </pc:spChg>
        <pc:spChg chg="add del mod">
          <ac:chgData name="Kau, Derchang" userId="b9148588-e694-4445-9765-2c9aad6149ce" providerId="ADAL" clId="{F798D4AA-0E14-EB43-9CA0-DC099737DEE1}" dt="2023-11-27T22:55:34.896" v="8925"/>
          <ac:spMkLst>
            <pc:docMk/>
            <pc:sldMk cId="1317308889" sldId="2147309860"/>
            <ac:spMk id="8" creationId="{84CCECEA-A920-ED69-86DD-A0CF4BD0A628}"/>
          </ac:spMkLst>
        </pc:spChg>
        <pc:spChg chg="del mod topLvl">
          <ac:chgData name="Kau, Derchang" userId="b9148588-e694-4445-9765-2c9aad6149ce" providerId="ADAL" clId="{F798D4AA-0E14-EB43-9CA0-DC099737DEE1}" dt="2023-11-21T06:13:23.058" v="6101" actId="478"/>
          <ac:spMkLst>
            <pc:docMk/>
            <pc:sldMk cId="1317308889" sldId="2147309860"/>
            <ac:spMk id="8" creationId="{FDC9C1B2-81DF-5159-DA46-517881D4B106}"/>
          </ac:spMkLst>
        </pc:spChg>
        <pc:spChg chg="mod topLvl">
          <ac:chgData name="Kau, Derchang" userId="b9148588-e694-4445-9765-2c9aad6149ce" providerId="ADAL" clId="{F798D4AA-0E14-EB43-9CA0-DC099737DEE1}" dt="2023-11-27T22:32:52.606" v="8752" actId="165"/>
          <ac:spMkLst>
            <pc:docMk/>
            <pc:sldMk cId="1317308889" sldId="2147309860"/>
            <ac:spMk id="20" creationId="{4243B5DE-AC99-7A44-95AB-CDFB364D7410}"/>
          </ac:spMkLst>
        </pc:spChg>
        <pc:spChg chg="mod topLvl">
          <ac:chgData name="Kau, Derchang" userId="b9148588-e694-4445-9765-2c9aad6149ce" providerId="ADAL" clId="{F798D4AA-0E14-EB43-9CA0-DC099737DEE1}" dt="2023-11-27T22:32:52.606" v="8752" actId="165"/>
          <ac:spMkLst>
            <pc:docMk/>
            <pc:sldMk cId="1317308889" sldId="2147309860"/>
            <ac:spMk id="21" creationId="{7174C828-CD27-5889-24F0-537106C14B7A}"/>
          </ac:spMkLst>
        </pc:spChg>
        <pc:spChg chg="mod topLvl">
          <ac:chgData name="Kau, Derchang" userId="b9148588-e694-4445-9765-2c9aad6149ce" providerId="ADAL" clId="{F798D4AA-0E14-EB43-9CA0-DC099737DEE1}" dt="2023-11-27T22:32:52.606" v="8752" actId="165"/>
          <ac:spMkLst>
            <pc:docMk/>
            <pc:sldMk cId="1317308889" sldId="2147309860"/>
            <ac:spMk id="22" creationId="{F699E1B6-FDF4-79E1-3273-802FB5F88FF7}"/>
          </ac:spMkLst>
        </pc:spChg>
        <pc:spChg chg="mod topLvl">
          <ac:chgData name="Kau, Derchang" userId="b9148588-e694-4445-9765-2c9aad6149ce" providerId="ADAL" clId="{F798D4AA-0E14-EB43-9CA0-DC099737DEE1}" dt="2023-11-27T22:32:52.606" v="8752" actId="165"/>
          <ac:spMkLst>
            <pc:docMk/>
            <pc:sldMk cId="1317308889" sldId="2147309860"/>
            <ac:spMk id="23" creationId="{B2C0FBA3-5A06-53D1-1B83-7F366BE9C155}"/>
          </ac:spMkLst>
        </pc:spChg>
        <pc:spChg chg="mod">
          <ac:chgData name="Kau, Derchang" userId="b9148588-e694-4445-9765-2c9aad6149ce" providerId="ADAL" clId="{F798D4AA-0E14-EB43-9CA0-DC099737DEE1}" dt="2023-11-21T06:12:47.886" v="6094"/>
          <ac:spMkLst>
            <pc:docMk/>
            <pc:sldMk cId="1317308889" sldId="2147309860"/>
            <ac:spMk id="25" creationId="{5F1D00CF-D06D-314D-8CA7-74D5B45F00D1}"/>
          </ac:spMkLst>
        </pc:spChg>
        <pc:spChg chg="mod">
          <ac:chgData name="Kau, Derchang" userId="b9148588-e694-4445-9765-2c9aad6149ce" providerId="ADAL" clId="{F798D4AA-0E14-EB43-9CA0-DC099737DEE1}" dt="2023-11-21T06:12:47.886" v="6094"/>
          <ac:spMkLst>
            <pc:docMk/>
            <pc:sldMk cId="1317308889" sldId="2147309860"/>
            <ac:spMk id="26" creationId="{972349B0-4A7B-467F-D023-DAE13186B203}"/>
          </ac:spMkLst>
        </pc:spChg>
        <pc:spChg chg="mod">
          <ac:chgData name="Kau, Derchang" userId="b9148588-e694-4445-9765-2c9aad6149ce" providerId="ADAL" clId="{F798D4AA-0E14-EB43-9CA0-DC099737DEE1}" dt="2023-11-21T06:12:47.886" v="6094"/>
          <ac:spMkLst>
            <pc:docMk/>
            <pc:sldMk cId="1317308889" sldId="2147309860"/>
            <ac:spMk id="27" creationId="{F3A8D390-91ED-4B17-DE12-9E8F876DCC0E}"/>
          </ac:spMkLst>
        </pc:spChg>
        <pc:spChg chg="mod">
          <ac:chgData name="Kau, Derchang" userId="b9148588-e694-4445-9765-2c9aad6149ce" providerId="ADAL" clId="{F798D4AA-0E14-EB43-9CA0-DC099737DEE1}" dt="2023-11-21T06:12:47.886" v="6094"/>
          <ac:spMkLst>
            <pc:docMk/>
            <pc:sldMk cId="1317308889" sldId="2147309860"/>
            <ac:spMk id="28" creationId="{3C209A96-5206-31CA-7A14-D66575D6C6D0}"/>
          </ac:spMkLst>
        </pc:spChg>
        <pc:spChg chg="mod">
          <ac:chgData name="Kau, Derchang" userId="b9148588-e694-4445-9765-2c9aad6149ce" providerId="ADAL" clId="{F798D4AA-0E14-EB43-9CA0-DC099737DEE1}" dt="2023-11-21T06:12:47.886" v="6094"/>
          <ac:spMkLst>
            <pc:docMk/>
            <pc:sldMk cId="1317308889" sldId="2147309860"/>
            <ac:spMk id="29" creationId="{07F00001-2B24-665E-843D-D220606DB360}"/>
          </ac:spMkLst>
        </pc:spChg>
        <pc:spChg chg="mod">
          <ac:chgData name="Kau, Derchang" userId="b9148588-e694-4445-9765-2c9aad6149ce" providerId="ADAL" clId="{F798D4AA-0E14-EB43-9CA0-DC099737DEE1}" dt="2023-11-21T06:12:47.886" v="6094"/>
          <ac:spMkLst>
            <pc:docMk/>
            <pc:sldMk cId="1317308889" sldId="2147309860"/>
            <ac:spMk id="30" creationId="{C1DD7FC5-FAEA-D3E8-4FEE-0E86956610AE}"/>
          </ac:spMkLst>
        </pc:spChg>
        <pc:spChg chg="mod">
          <ac:chgData name="Kau, Derchang" userId="b9148588-e694-4445-9765-2c9aad6149ce" providerId="ADAL" clId="{F798D4AA-0E14-EB43-9CA0-DC099737DEE1}" dt="2023-11-21T06:12:47.886" v="6094"/>
          <ac:spMkLst>
            <pc:docMk/>
            <pc:sldMk cId="1317308889" sldId="2147309860"/>
            <ac:spMk id="31" creationId="{E67C02B4-63B5-D344-7048-959B6CD7C266}"/>
          </ac:spMkLst>
        </pc:spChg>
        <pc:spChg chg="mod">
          <ac:chgData name="Kau, Derchang" userId="b9148588-e694-4445-9765-2c9aad6149ce" providerId="ADAL" clId="{F798D4AA-0E14-EB43-9CA0-DC099737DEE1}" dt="2023-11-21T06:12:47.886" v="6094"/>
          <ac:spMkLst>
            <pc:docMk/>
            <pc:sldMk cId="1317308889" sldId="2147309860"/>
            <ac:spMk id="32" creationId="{8AFD748B-88FD-87B6-5EA7-06DCBB8ED259}"/>
          </ac:spMkLst>
        </pc:spChg>
        <pc:spChg chg="mod">
          <ac:chgData name="Kau, Derchang" userId="b9148588-e694-4445-9765-2c9aad6149ce" providerId="ADAL" clId="{F798D4AA-0E14-EB43-9CA0-DC099737DEE1}" dt="2023-11-21T06:12:47.886" v="6094"/>
          <ac:spMkLst>
            <pc:docMk/>
            <pc:sldMk cId="1317308889" sldId="2147309860"/>
            <ac:spMk id="33" creationId="{6B9C60F1-8AE7-4E05-C350-2C377BF91D3C}"/>
          </ac:spMkLst>
        </pc:spChg>
        <pc:spChg chg="mod">
          <ac:chgData name="Kau, Derchang" userId="b9148588-e694-4445-9765-2c9aad6149ce" providerId="ADAL" clId="{F798D4AA-0E14-EB43-9CA0-DC099737DEE1}" dt="2023-11-21T06:12:47.886" v="6094"/>
          <ac:spMkLst>
            <pc:docMk/>
            <pc:sldMk cId="1317308889" sldId="2147309860"/>
            <ac:spMk id="34" creationId="{7BF39BE5-0322-79E8-F1A5-2C2B37EDADFC}"/>
          </ac:spMkLst>
        </pc:spChg>
        <pc:spChg chg="mod">
          <ac:chgData name="Kau, Derchang" userId="b9148588-e694-4445-9765-2c9aad6149ce" providerId="ADAL" clId="{F798D4AA-0E14-EB43-9CA0-DC099737DEE1}" dt="2023-11-21T06:12:47.886" v="6094"/>
          <ac:spMkLst>
            <pc:docMk/>
            <pc:sldMk cId="1317308889" sldId="2147309860"/>
            <ac:spMk id="35" creationId="{5F5DDB6C-4029-F744-AB0A-F3A9467B78EC}"/>
          </ac:spMkLst>
        </pc:spChg>
        <pc:spChg chg="mod">
          <ac:chgData name="Kau, Derchang" userId="b9148588-e694-4445-9765-2c9aad6149ce" providerId="ADAL" clId="{F798D4AA-0E14-EB43-9CA0-DC099737DEE1}" dt="2023-11-21T06:12:47.886" v="6094"/>
          <ac:spMkLst>
            <pc:docMk/>
            <pc:sldMk cId="1317308889" sldId="2147309860"/>
            <ac:spMk id="36" creationId="{50F9D748-B0C3-8B80-43A7-D0BEF9756377}"/>
          </ac:spMkLst>
        </pc:spChg>
        <pc:spChg chg="mod">
          <ac:chgData name="Kau, Derchang" userId="b9148588-e694-4445-9765-2c9aad6149ce" providerId="ADAL" clId="{F798D4AA-0E14-EB43-9CA0-DC099737DEE1}" dt="2023-11-21T06:12:47.886" v="6094"/>
          <ac:spMkLst>
            <pc:docMk/>
            <pc:sldMk cId="1317308889" sldId="2147309860"/>
            <ac:spMk id="37" creationId="{05C8F37D-715A-9EEB-1C2B-6E99130A629B}"/>
          </ac:spMkLst>
        </pc:spChg>
        <pc:spChg chg="mod">
          <ac:chgData name="Kau, Derchang" userId="b9148588-e694-4445-9765-2c9aad6149ce" providerId="ADAL" clId="{F798D4AA-0E14-EB43-9CA0-DC099737DEE1}" dt="2023-11-21T06:12:47.886" v="6094"/>
          <ac:spMkLst>
            <pc:docMk/>
            <pc:sldMk cId="1317308889" sldId="2147309860"/>
            <ac:spMk id="38" creationId="{91C0C59A-3737-06EF-D25D-3597F477F2C0}"/>
          </ac:spMkLst>
        </pc:spChg>
        <pc:spChg chg="mod">
          <ac:chgData name="Kau, Derchang" userId="b9148588-e694-4445-9765-2c9aad6149ce" providerId="ADAL" clId="{F798D4AA-0E14-EB43-9CA0-DC099737DEE1}" dt="2023-11-21T06:12:47.886" v="6094"/>
          <ac:spMkLst>
            <pc:docMk/>
            <pc:sldMk cId="1317308889" sldId="2147309860"/>
            <ac:spMk id="39" creationId="{FFF8D578-B68D-B78D-60EF-9852A3AC39F0}"/>
          </ac:spMkLst>
        </pc:spChg>
        <pc:spChg chg="mod">
          <ac:chgData name="Kau, Derchang" userId="b9148588-e694-4445-9765-2c9aad6149ce" providerId="ADAL" clId="{F798D4AA-0E14-EB43-9CA0-DC099737DEE1}" dt="2023-11-21T06:12:47.886" v="6094"/>
          <ac:spMkLst>
            <pc:docMk/>
            <pc:sldMk cId="1317308889" sldId="2147309860"/>
            <ac:spMk id="40" creationId="{2CE8A073-8272-DCBB-8264-689EE2EA3FB5}"/>
          </ac:spMkLst>
        </pc:spChg>
        <pc:spChg chg="mod">
          <ac:chgData name="Kau, Derchang" userId="b9148588-e694-4445-9765-2c9aad6149ce" providerId="ADAL" clId="{F798D4AA-0E14-EB43-9CA0-DC099737DEE1}" dt="2023-11-21T06:12:47.886" v="6094"/>
          <ac:spMkLst>
            <pc:docMk/>
            <pc:sldMk cId="1317308889" sldId="2147309860"/>
            <ac:spMk id="41" creationId="{1FDE9CA7-DB89-00EB-EDE3-A150BA281166}"/>
          </ac:spMkLst>
        </pc:spChg>
        <pc:spChg chg="add del mod">
          <ac:chgData name="Kau, Derchang" userId="b9148588-e694-4445-9765-2c9aad6149ce" providerId="ADAL" clId="{F798D4AA-0E14-EB43-9CA0-DC099737DEE1}" dt="2023-11-21T06:13:11.467" v="6098" actId="21"/>
          <ac:spMkLst>
            <pc:docMk/>
            <pc:sldMk cId="1317308889" sldId="2147309860"/>
            <ac:spMk id="42" creationId="{F5CB399B-7DCD-F2EA-AD7D-A8C5CE9C5E26}"/>
          </ac:spMkLst>
        </pc:spChg>
        <pc:spChg chg="mod">
          <ac:chgData name="Kau, Derchang" userId="b9148588-e694-4445-9765-2c9aad6149ce" providerId="ADAL" clId="{F798D4AA-0E14-EB43-9CA0-DC099737DEE1}" dt="2023-11-21T06:12:47.886" v="6094"/>
          <ac:spMkLst>
            <pc:docMk/>
            <pc:sldMk cId="1317308889" sldId="2147309860"/>
            <ac:spMk id="43" creationId="{C188ACD8-802B-08EE-6AC0-B15B732E5D83}"/>
          </ac:spMkLst>
        </pc:spChg>
        <pc:spChg chg="mod">
          <ac:chgData name="Kau, Derchang" userId="b9148588-e694-4445-9765-2c9aad6149ce" providerId="ADAL" clId="{F798D4AA-0E14-EB43-9CA0-DC099737DEE1}" dt="2023-11-21T06:12:47.886" v="6094"/>
          <ac:spMkLst>
            <pc:docMk/>
            <pc:sldMk cId="1317308889" sldId="2147309860"/>
            <ac:spMk id="44" creationId="{D02398A3-033F-864C-DDF2-0E3FADA7BE6F}"/>
          </ac:spMkLst>
        </pc:spChg>
        <pc:spChg chg="mod">
          <ac:chgData name="Kau, Derchang" userId="b9148588-e694-4445-9765-2c9aad6149ce" providerId="ADAL" clId="{F798D4AA-0E14-EB43-9CA0-DC099737DEE1}" dt="2023-11-21T06:12:47.886" v="6094"/>
          <ac:spMkLst>
            <pc:docMk/>
            <pc:sldMk cId="1317308889" sldId="2147309860"/>
            <ac:spMk id="45" creationId="{E9DBBB38-16F8-A1C3-F57B-30DD59DDEDE5}"/>
          </ac:spMkLst>
        </pc:spChg>
        <pc:spChg chg="mod">
          <ac:chgData name="Kau, Derchang" userId="b9148588-e694-4445-9765-2c9aad6149ce" providerId="ADAL" clId="{F798D4AA-0E14-EB43-9CA0-DC099737DEE1}" dt="2023-11-21T06:12:47.886" v="6094"/>
          <ac:spMkLst>
            <pc:docMk/>
            <pc:sldMk cId="1317308889" sldId="2147309860"/>
            <ac:spMk id="46" creationId="{BB4982D4-6B15-33DE-CAB8-3E236C07B752}"/>
          </ac:spMkLst>
        </pc:spChg>
        <pc:spChg chg="mod">
          <ac:chgData name="Kau, Derchang" userId="b9148588-e694-4445-9765-2c9aad6149ce" providerId="ADAL" clId="{F798D4AA-0E14-EB43-9CA0-DC099737DEE1}" dt="2023-11-21T06:12:47.886" v="6094"/>
          <ac:spMkLst>
            <pc:docMk/>
            <pc:sldMk cId="1317308889" sldId="2147309860"/>
            <ac:spMk id="47" creationId="{2AE2DF61-EA5E-665E-DD81-CD0F97BBC0FB}"/>
          </ac:spMkLst>
        </pc:spChg>
        <pc:spChg chg="mod">
          <ac:chgData name="Kau, Derchang" userId="b9148588-e694-4445-9765-2c9aad6149ce" providerId="ADAL" clId="{F798D4AA-0E14-EB43-9CA0-DC099737DEE1}" dt="2023-11-21T06:12:47.886" v="6094"/>
          <ac:spMkLst>
            <pc:docMk/>
            <pc:sldMk cId="1317308889" sldId="2147309860"/>
            <ac:spMk id="48" creationId="{2EC267AA-45F9-2D37-F4EE-2FDFDB6F92B8}"/>
          </ac:spMkLst>
        </pc:spChg>
        <pc:spChg chg="mod">
          <ac:chgData name="Kau, Derchang" userId="b9148588-e694-4445-9765-2c9aad6149ce" providerId="ADAL" clId="{F798D4AA-0E14-EB43-9CA0-DC099737DEE1}" dt="2023-11-21T06:12:47.886" v="6094"/>
          <ac:spMkLst>
            <pc:docMk/>
            <pc:sldMk cId="1317308889" sldId="2147309860"/>
            <ac:spMk id="49" creationId="{13DC46AF-3636-37E5-F406-2F7176BEF9BA}"/>
          </ac:spMkLst>
        </pc:spChg>
        <pc:spChg chg="mod">
          <ac:chgData name="Kau, Derchang" userId="b9148588-e694-4445-9765-2c9aad6149ce" providerId="ADAL" clId="{F798D4AA-0E14-EB43-9CA0-DC099737DEE1}" dt="2023-11-21T06:12:47.886" v="6094"/>
          <ac:spMkLst>
            <pc:docMk/>
            <pc:sldMk cId="1317308889" sldId="2147309860"/>
            <ac:spMk id="50" creationId="{C713E559-7990-E83C-FA1B-89B1E328E18E}"/>
          </ac:spMkLst>
        </pc:spChg>
        <pc:spChg chg="mod">
          <ac:chgData name="Kau, Derchang" userId="b9148588-e694-4445-9765-2c9aad6149ce" providerId="ADAL" clId="{F798D4AA-0E14-EB43-9CA0-DC099737DEE1}" dt="2023-11-21T06:12:47.886" v="6094"/>
          <ac:spMkLst>
            <pc:docMk/>
            <pc:sldMk cId="1317308889" sldId="2147309860"/>
            <ac:spMk id="51" creationId="{C4ED0549-890C-8B9F-F270-FE0CFCF8A977}"/>
          </ac:spMkLst>
        </pc:spChg>
        <pc:spChg chg="mod">
          <ac:chgData name="Kau, Derchang" userId="b9148588-e694-4445-9765-2c9aad6149ce" providerId="ADAL" clId="{F798D4AA-0E14-EB43-9CA0-DC099737DEE1}" dt="2023-11-21T06:12:47.886" v="6094"/>
          <ac:spMkLst>
            <pc:docMk/>
            <pc:sldMk cId="1317308889" sldId="2147309860"/>
            <ac:spMk id="52" creationId="{67B150D6-09E9-480C-3181-2DF1AE900B28}"/>
          </ac:spMkLst>
        </pc:spChg>
        <pc:spChg chg="mod">
          <ac:chgData name="Kau, Derchang" userId="b9148588-e694-4445-9765-2c9aad6149ce" providerId="ADAL" clId="{F798D4AA-0E14-EB43-9CA0-DC099737DEE1}" dt="2023-11-21T06:12:47.886" v="6094"/>
          <ac:spMkLst>
            <pc:docMk/>
            <pc:sldMk cId="1317308889" sldId="2147309860"/>
            <ac:spMk id="53" creationId="{0C453195-F499-9EF9-72C5-003D698D1A42}"/>
          </ac:spMkLst>
        </pc:spChg>
        <pc:spChg chg="mod">
          <ac:chgData name="Kau, Derchang" userId="b9148588-e694-4445-9765-2c9aad6149ce" providerId="ADAL" clId="{F798D4AA-0E14-EB43-9CA0-DC099737DEE1}" dt="2023-11-21T06:12:47.886" v="6094"/>
          <ac:spMkLst>
            <pc:docMk/>
            <pc:sldMk cId="1317308889" sldId="2147309860"/>
            <ac:spMk id="54" creationId="{1EFD7E5B-BD75-42FF-4048-C91AD8E4E1D8}"/>
          </ac:spMkLst>
        </pc:spChg>
        <pc:spChg chg="mod">
          <ac:chgData name="Kau, Derchang" userId="b9148588-e694-4445-9765-2c9aad6149ce" providerId="ADAL" clId="{F798D4AA-0E14-EB43-9CA0-DC099737DEE1}" dt="2023-11-21T06:12:47.886" v="6094"/>
          <ac:spMkLst>
            <pc:docMk/>
            <pc:sldMk cId="1317308889" sldId="2147309860"/>
            <ac:spMk id="55" creationId="{A7E8E9AC-D8D1-25FF-DEBF-B24C74453539}"/>
          </ac:spMkLst>
        </pc:spChg>
        <pc:spChg chg="mod">
          <ac:chgData name="Kau, Derchang" userId="b9148588-e694-4445-9765-2c9aad6149ce" providerId="ADAL" clId="{F798D4AA-0E14-EB43-9CA0-DC099737DEE1}" dt="2023-11-21T06:12:47.886" v="6094"/>
          <ac:spMkLst>
            <pc:docMk/>
            <pc:sldMk cId="1317308889" sldId="2147309860"/>
            <ac:spMk id="56" creationId="{1E15B897-BDCF-3549-B6F0-A273BE5162C1}"/>
          </ac:spMkLst>
        </pc:spChg>
        <pc:spChg chg="mod">
          <ac:chgData name="Kau, Derchang" userId="b9148588-e694-4445-9765-2c9aad6149ce" providerId="ADAL" clId="{F798D4AA-0E14-EB43-9CA0-DC099737DEE1}" dt="2023-11-21T06:12:47.886" v="6094"/>
          <ac:spMkLst>
            <pc:docMk/>
            <pc:sldMk cId="1317308889" sldId="2147309860"/>
            <ac:spMk id="57" creationId="{4F539219-4C8B-D3F4-FCCA-BA97DA7914AA}"/>
          </ac:spMkLst>
        </pc:spChg>
        <pc:spChg chg="mod">
          <ac:chgData name="Kau, Derchang" userId="b9148588-e694-4445-9765-2c9aad6149ce" providerId="ADAL" clId="{F798D4AA-0E14-EB43-9CA0-DC099737DEE1}" dt="2023-11-21T06:12:47.886" v="6094"/>
          <ac:spMkLst>
            <pc:docMk/>
            <pc:sldMk cId="1317308889" sldId="2147309860"/>
            <ac:spMk id="58" creationId="{A19B07B4-5CF8-7552-32FB-0F0BF82F6994}"/>
          </ac:spMkLst>
        </pc:spChg>
        <pc:spChg chg="mod">
          <ac:chgData name="Kau, Derchang" userId="b9148588-e694-4445-9765-2c9aad6149ce" providerId="ADAL" clId="{F798D4AA-0E14-EB43-9CA0-DC099737DEE1}" dt="2023-11-21T06:12:47.886" v="6094"/>
          <ac:spMkLst>
            <pc:docMk/>
            <pc:sldMk cId="1317308889" sldId="2147309860"/>
            <ac:spMk id="59" creationId="{0FBB73D7-268A-3CA2-92E6-CD08F18949C7}"/>
          </ac:spMkLst>
        </pc:spChg>
        <pc:spChg chg="mod">
          <ac:chgData name="Kau, Derchang" userId="b9148588-e694-4445-9765-2c9aad6149ce" providerId="ADAL" clId="{F798D4AA-0E14-EB43-9CA0-DC099737DEE1}" dt="2023-11-21T06:12:47.886" v="6094"/>
          <ac:spMkLst>
            <pc:docMk/>
            <pc:sldMk cId="1317308889" sldId="2147309860"/>
            <ac:spMk id="60" creationId="{1E71A593-0249-6FBA-7B9C-0597ED186192}"/>
          </ac:spMkLst>
        </pc:spChg>
        <pc:spChg chg="add mod">
          <ac:chgData name="Kau, Derchang" userId="b9148588-e694-4445-9765-2c9aad6149ce" providerId="ADAL" clId="{F798D4AA-0E14-EB43-9CA0-DC099737DEE1}" dt="2023-11-22T04:15:51.988" v="7927" actId="1076"/>
          <ac:spMkLst>
            <pc:docMk/>
            <pc:sldMk cId="1317308889" sldId="2147309860"/>
            <ac:spMk id="61" creationId="{D194C05C-6052-B280-2A00-9B6AEBB1B50B}"/>
          </ac:spMkLst>
        </pc:spChg>
        <pc:spChg chg="add mod">
          <ac:chgData name="Kau, Derchang" userId="b9148588-e694-4445-9765-2c9aad6149ce" providerId="ADAL" clId="{F798D4AA-0E14-EB43-9CA0-DC099737DEE1}" dt="2023-11-22T04:15:36.412" v="7924" actId="1076"/>
          <ac:spMkLst>
            <pc:docMk/>
            <pc:sldMk cId="1317308889" sldId="2147309860"/>
            <ac:spMk id="62" creationId="{00991198-F210-38C3-2525-173DB5620645}"/>
          </ac:spMkLst>
        </pc:spChg>
        <pc:spChg chg="add mod">
          <ac:chgData name="Kau, Derchang" userId="b9148588-e694-4445-9765-2c9aad6149ce" providerId="ADAL" clId="{F798D4AA-0E14-EB43-9CA0-DC099737DEE1}" dt="2023-11-22T03:52:31.343" v="7530" actId="20577"/>
          <ac:spMkLst>
            <pc:docMk/>
            <pc:sldMk cId="1317308889" sldId="2147309860"/>
            <ac:spMk id="64" creationId="{73CEC458-0BDD-B99F-59DF-A843C9AE5D07}"/>
          </ac:spMkLst>
        </pc:spChg>
        <pc:spChg chg="add mod">
          <ac:chgData name="Kau, Derchang" userId="b9148588-e694-4445-9765-2c9aad6149ce" providerId="ADAL" clId="{F798D4AA-0E14-EB43-9CA0-DC099737DEE1}" dt="2023-11-21T06:37:04.960" v="6792" actId="1037"/>
          <ac:spMkLst>
            <pc:docMk/>
            <pc:sldMk cId="1317308889" sldId="2147309860"/>
            <ac:spMk id="65" creationId="{A7048794-A12E-B9BC-A8D1-A5D9DBCD15BE}"/>
          </ac:spMkLst>
        </pc:spChg>
        <pc:spChg chg="add mod">
          <ac:chgData name="Kau, Derchang" userId="b9148588-e694-4445-9765-2c9aad6149ce" providerId="ADAL" clId="{F798D4AA-0E14-EB43-9CA0-DC099737DEE1}" dt="2023-11-21T06:37:04.960" v="6792" actId="1037"/>
          <ac:spMkLst>
            <pc:docMk/>
            <pc:sldMk cId="1317308889" sldId="2147309860"/>
            <ac:spMk id="66" creationId="{EB8EC5D9-B5F0-F4C6-DE01-F7CC35FB79AC}"/>
          </ac:spMkLst>
        </pc:spChg>
        <pc:spChg chg="add mod">
          <ac:chgData name="Kau, Derchang" userId="b9148588-e694-4445-9765-2c9aad6149ce" providerId="ADAL" clId="{F798D4AA-0E14-EB43-9CA0-DC099737DEE1}" dt="2023-11-21T06:37:04.960" v="6792" actId="1037"/>
          <ac:spMkLst>
            <pc:docMk/>
            <pc:sldMk cId="1317308889" sldId="2147309860"/>
            <ac:spMk id="67" creationId="{402EA3B8-05F5-7AA6-E2F1-56D03CCE9381}"/>
          </ac:spMkLst>
        </pc:spChg>
        <pc:spChg chg="add mod">
          <ac:chgData name="Kau, Derchang" userId="b9148588-e694-4445-9765-2c9aad6149ce" providerId="ADAL" clId="{F798D4AA-0E14-EB43-9CA0-DC099737DEE1}" dt="2023-11-21T06:37:04.960" v="6792" actId="1037"/>
          <ac:spMkLst>
            <pc:docMk/>
            <pc:sldMk cId="1317308889" sldId="2147309860"/>
            <ac:spMk id="68" creationId="{C7F5ADC1-06D2-F5D7-81F4-6F42462FB5C1}"/>
          </ac:spMkLst>
        </pc:spChg>
        <pc:spChg chg="add del mod">
          <ac:chgData name="Kau, Derchang" userId="b9148588-e694-4445-9765-2c9aad6149ce" providerId="ADAL" clId="{F798D4AA-0E14-EB43-9CA0-DC099737DEE1}" dt="2023-11-21T06:31:55.614" v="6548" actId="478"/>
          <ac:spMkLst>
            <pc:docMk/>
            <pc:sldMk cId="1317308889" sldId="2147309860"/>
            <ac:spMk id="69" creationId="{4F93E128-D57D-8BD7-726F-26D6D26D523C}"/>
          </ac:spMkLst>
        </pc:spChg>
        <pc:spChg chg="add mod">
          <ac:chgData name="Kau, Derchang" userId="b9148588-e694-4445-9765-2c9aad6149ce" providerId="ADAL" clId="{F798D4AA-0E14-EB43-9CA0-DC099737DEE1}" dt="2023-11-22T03:52:38.914" v="7542" actId="20577"/>
          <ac:spMkLst>
            <pc:docMk/>
            <pc:sldMk cId="1317308889" sldId="2147309860"/>
            <ac:spMk id="70" creationId="{67EF081D-DA52-37C9-1ED4-181844A6EB31}"/>
          </ac:spMkLst>
        </pc:spChg>
        <pc:spChg chg="add mod">
          <ac:chgData name="Kau, Derchang" userId="b9148588-e694-4445-9765-2c9aad6149ce" providerId="ADAL" clId="{F798D4AA-0E14-EB43-9CA0-DC099737DEE1}" dt="2023-11-27T22:58:29.249" v="8955" actId="1076"/>
          <ac:spMkLst>
            <pc:docMk/>
            <pc:sldMk cId="1317308889" sldId="2147309860"/>
            <ac:spMk id="71" creationId="{A3A38291-6EE2-B746-64EA-298E09ED1756}"/>
          </ac:spMkLst>
        </pc:spChg>
        <pc:spChg chg="add mod">
          <ac:chgData name="Kau, Derchang" userId="b9148588-e694-4445-9765-2c9aad6149ce" providerId="ADAL" clId="{F798D4AA-0E14-EB43-9CA0-DC099737DEE1}" dt="2023-11-22T03:53:32.675" v="7597" actId="313"/>
          <ac:spMkLst>
            <pc:docMk/>
            <pc:sldMk cId="1317308889" sldId="2147309860"/>
            <ac:spMk id="72" creationId="{C68CF1DA-B8E5-9017-E86A-E8BB104AB913}"/>
          </ac:spMkLst>
        </pc:spChg>
        <pc:spChg chg="add mod">
          <ac:chgData name="Kau, Derchang" userId="b9148588-e694-4445-9765-2c9aad6149ce" providerId="ADAL" clId="{F798D4AA-0E14-EB43-9CA0-DC099737DEE1}" dt="2023-11-22T03:54:08.696" v="7635" actId="20577"/>
          <ac:spMkLst>
            <pc:docMk/>
            <pc:sldMk cId="1317308889" sldId="2147309860"/>
            <ac:spMk id="73" creationId="{21252734-19A2-0AE3-B154-3D43F01ED6BF}"/>
          </ac:spMkLst>
        </pc:spChg>
        <pc:spChg chg="add del mod">
          <ac:chgData name="Kau, Derchang" userId="b9148588-e694-4445-9765-2c9aad6149ce" providerId="ADAL" clId="{F798D4AA-0E14-EB43-9CA0-DC099737DEE1}" dt="2023-11-21T06:39:09.073" v="6821"/>
          <ac:spMkLst>
            <pc:docMk/>
            <pc:sldMk cId="1317308889" sldId="2147309860"/>
            <ac:spMk id="74" creationId="{BAB712BE-FFB6-22D8-3248-3225CCD5E673}"/>
          </ac:spMkLst>
        </pc:spChg>
        <pc:spChg chg="add mod">
          <ac:chgData name="Kau, Derchang" userId="b9148588-e694-4445-9765-2c9aad6149ce" providerId="ADAL" clId="{F798D4AA-0E14-EB43-9CA0-DC099737DEE1}" dt="2023-11-27T22:35:50.927" v="8765" actId="1076"/>
          <ac:spMkLst>
            <pc:docMk/>
            <pc:sldMk cId="1317308889" sldId="2147309860"/>
            <ac:spMk id="75" creationId="{F282B8C1-3AA3-3AC2-AFB9-A56AA12E622A}"/>
          </ac:spMkLst>
        </pc:spChg>
        <pc:grpChg chg="add del mod">
          <ac:chgData name="Kau, Derchang" userId="b9148588-e694-4445-9765-2c9aad6149ce" providerId="ADAL" clId="{F798D4AA-0E14-EB43-9CA0-DC099737DEE1}" dt="2023-11-21T06:13:17.239" v="6099" actId="165"/>
          <ac:grpSpMkLst>
            <pc:docMk/>
            <pc:sldMk cId="1317308889" sldId="2147309860"/>
            <ac:grpSpMk id="5" creationId="{E8273C59-389F-311E-E4CD-32626E0D3048}"/>
          </ac:grpSpMkLst>
        </pc:grpChg>
        <pc:grpChg chg="add del mod topLvl">
          <ac:chgData name="Kau, Derchang" userId="b9148588-e694-4445-9765-2c9aad6149ce" providerId="ADAL" clId="{F798D4AA-0E14-EB43-9CA0-DC099737DEE1}" dt="2023-11-27T22:32:52.606" v="8752" actId="165"/>
          <ac:grpSpMkLst>
            <pc:docMk/>
            <pc:sldMk cId="1317308889" sldId="2147309860"/>
            <ac:grpSpMk id="6" creationId="{51A097D0-AA3C-7437-C132-0D0C0F308131}"/>
          </ac:grpSpMkLst>
        </pc:grpChg>
        <pc:grpChg chg="mod topLvl">
          <ac:chgData name="Kau, Derchang" userId="b9148588-e694-4445-9765-2c9aad6149ce" providerId="ADAL" clId="{F798D4AA-0E14-EB43-9CA0-DC099737DEE1}" dt="2023-11-27T22:32:52.606" v="8752" actId="165"/>
          <ac:grpSpMkLst>
            <pc:docMk/>
            <pc:sldMk cId="1317308889" sldId="2147309860"/>
            <ac:grpSpMk id="9" creationId="{B1558374-7A9E-2EEA-16D8-C25377086BD4}"/>
          </ac:grpSpMkLst>
        </pc:grpChg>
        <pc:grpChg chg="mod topLvl">
          <ac:chgData name="Kau, Derchang" userId="b9148588-e694-4445-9765-2c9aad6149ce" providerId="ADAL" clId="{F798D4AA-0E14-EB43-9CA0-DC099737DEE1}" dt="2023-11-27T22:32:52.606" v="8752" actId="165"/>
          <ac:grpSpMkLst>
            <pc:docMk/>
            <pc:sldMk cId="1317308889" sldId="2147309860"/>
            <ac:grpSpMk id="10" creationId="{CB065E86-D50B-9C09-1C35-DC8BA335C474}"/>
          </ac:grpSpMkLst>
        </pc:grpChg>
        <pc:grpChg chg="mod topLvl">
          <ac:chgData name="Kau, Derchang" userId="b9148588-e694-4445-9765-2c9aad6149ce" providerId="ADAL" clId="{F798D4AA-0E14-EB43-9CA0-DC099737DEE1}" dt="2023-11-27T22:53:55.949" v="8883" actId="1076"/>
          <ac:grpSpMkLst>
            <pc:docMk/>
            <pc:sldMk cId="1317308889" sldId="2147309860"/>
            <ac:grpSpMk id="11" creationId="{21F77BD1-EAC5-8587-5DF2-E9F6DEF36541}"/>
          </ac:grpSpMkLst>
        </pc:grpChg>
        <pc:grpChg chg="mod topLvl">
          <ac:chgData name="Kau, Derchang" userId="b9148588-e694-4445-9765-2c9aad6149ce" providerId="ADAL" clId="{F798D4AA-0E14-EB43-9CA0-DC099737DEE1}" dt="2023-11-27T22:32:52.606" v="8752" actId="165"/>
          <ac:grpSpMkLst>
            <pc:docMk/>
            <pc:sldMk cId="1317308889" sldId="2147309860"/>
            <ac:grpSpMk id="14" creationId="{7D3F80CB-CD57-ED81-3D72-9CC09DF054CB}"/>
          </ac:grpSpMkLst>
        </pc:grpChg>
        <pc:grpChg chg="mod topLvl">
          <ac:chgData name="Kau, Derchang" userId="b9148588-e694-4445-9765-2c9aad6149ce" providerId="ADAL" clId="{F798D4AA-0E14-EB43-9CA0-DC099737DEE1}" dt="2023-11-27T22:57:12.828" v="8947" actId="1076"/>
          <ac:grpSpMkLst>
            <pc:docMk/>
            <pc:sldMk cId="1317308889" sldId="2147309860"/>
            <ac:grpSpMk id="16" creationId="{5C9E667A-FDDE-7BEB-21C5-6F9D386E8E44}"/>
          </ac:grpSpMkLst>
        </pc:grpChg>
        <pc:grpChg chg="mod topLvl">
          <ac:chgData name="Kau, Derchang" userId="b9148588-e694-4445-9765-2c9aad6149ce" providerId="ADAL" clId="{F798D4AA-0E14-EB43-9CA0-DC099737DEE1}" dt="2023-11-27T22:32:52.606" v="8752" actId="165"/>
          <ac:grpSpMkLst>
            <pc:docMk/>
            <pc:sldMk cId="1317308889" sldId="2147309860"/>
            <ac:grpSpMk id="18" creationId="{ADC16AAE-DA7E-AEC1-F46A-91BABA5587B9}"/>
          </ac:grpSpMkLst>
        </pc:grpChg>
        <pc:picChg chg="add del mod">
          <ac:chgData name="Kau, Derchang" userId="b9148588-e694-4445-9765-2c9aad6149ce" providerId="ADAL" clId="{F798D4AA-0E14-EB43-9CA0-DC099737DEE1}" dt="2023-11-27T22:54:38.381" v="8891" actId="478"/>
          <ac:picMkLst>
            <pc:docMk/>
            <pc:sldMk cId="1317308889" sldId="2147309860"/>
            <ac:picMk id="5" creationId="{709027C4-52A5-9687-3ACE-E502324DA15E}"/>
          </ac:picMkLst>
        </pc:picChg>
        <pc:picChg chg="add mod">
          <ac:chgData name="Kau, Derchang" userId="b9148588-e694-4445-9765-2c9aad6149ce" providerId="ADAL" clId="{F798D4AA-0E14-EB43-9CA0-DC099737DEE1}" dt="2023-11-27T22:55:00.409" v="8908" actId="1038"/>
          <ac:picMkLst>
            <pc:docMk/>
            <pc:sldMk cId="1317308889" sldId="2147309860"/>
            <ac:picMk id="7" creationId="{88D844E6-E9F0-7E09-4312-24A72CEB0CD9}"/>
          </ac:picMkLst>
        </pc:picChg>
        <pc:picChg chg="del mod topLvl">
          <ac:chgData name="Kau, Derchang" userId="b9148588-e694-4445-9765-2c9aad6149ce" providerId="ADAL" clId="{F798D4AA-0E14-EB43-9CA0-DC099737DEE1}" dt="2023-11-27T22:49:13.489" v="8837" actId="478"/>
          <ac:picMkLst>
            <pc:docMk/>
            <pc:sldMk cId="1317308889" sldId="2147309860"/>
            <ac:picMk id="12" creationId="{168B9369-E583-3976-43FE-078A260C621E}"/>
          </ac:picMkLst>
        </pc:picChg>
        <pc:picChg chg="mod topLvl">
          <ac:chgData name="Kau, Derchang" userId="b9148588-e694-4445-9765-2c9aad6149ce" providerId="ADAL" clId="{F798D4AA-0E14-EB43-9CA0-DC099737DEE1}" dt="2023-11-27T22:32:52.606" v="8752" actId="165"/>
          <ac:picMkLst>
            <pc:docMk/>
            <pc:sldMk cId="1317308889" sldId="2147309860"/>
            <ac:picMk id="13" creationId="{BCADEEC7-5203-3113-FEAF-A1A721A3AED7}"/>
          </ac:picMkLst>
        </pc:picChg>
        <pc:picChg chg="mod topLvl">
          <ac:chgData name="Kau, Derchang" userId="b9148588-e694-4445-9765-2c9aad6149ce" providerId="ADAL" clId="{F798D4AA-0E14-EB43-9CA0-DC099737DEE1}" dt="2023-11-27T22:32:52.606" v="8752" actId="165"/>
          <ac:picMkLst>
            <pc:docMk/>
            <pc:sldMk cId="1317308889" sldId="2147309860"/>
            <ac:picMk id="15" creationId="{CBBF9ACD-4DF5-9CD6-81FF-512EF59B1CFA}"/>
          </ac:picMkLst>
        </pc:picChg>
        <pc:picChg chg="add del mod topLvl">
          <ac:chgData name="Kau, Derchang" userId="b9148588-e694-4445-9765-2c9aad6149ce" providerId="ADAL" clId="{F798D4AA-0E14-EB43-9CA0-DC099737DEE1}" dt="2023-11-27T22:57:08.719" v="8945" actId="478"/>
          <ac:picMkLst>
            <pc:docMk/>
            <pc:sldMk cId="1317308889" sldId="2147309860"/>
            <ac:picMk id="17" creationId="{1E80058D-B83B-D36B-F2DB-DD46B449C01E}"/>
          </ac:picMkLst>
        </pc:picChg>
        <pc:picChg chg="mod topLvl">
          <ac:chgData name="Kau, Derchang" userId="b9148588-e694-4445-9765-2c9aad6149ce" providerId="ADAL" clId="{F798D4AA-0E14-EB43-9CA0-DC099737DEE1}" dt="2023-11-27T22:32:52.606" v="8752" actId="165"/>
          <ac:picMkLst>
            <pc:docMk/>
            <pc:sldMk cId="1317308889" sldId="2147309860"/>
            <ac:picMk id="19" creationId="{6C8A0E95-8F7E-7265-7A09-0E1E81FED78A}"/>
          </ac:picMkLst>
        </pc:picChg>
        <pc:picChg chg="add del mod topLvl">
          <ac:chgData name="Kau, Derchang" userId="b9148588-e694-4445-9765-2c9aad6149ce" providerId="ADAL" clId="{F798D4AA-0E14-EB43-9CA0-DC099737DEE1}" dt="2023-11-27T22:32:52.606" v="8752" actId="165"/>
          <ac:picMkLst>
            <pc:docMk/>
            <pc:sldMk cId="1317308889" sldId="2147309860"/>
            <ac:picMk id="24" creationId="{F640E26D-5E55-ED1A-456B-1D2F3B4812C1}"/>
          </ac:picMkLst>
        </pc:picChg>
        <pc:picChg chg="add del mod">
          <ac:chgData name="Kau, Derchang" userId="b9148588-e694-4445-9765-2c9aad6149ce" providerId="ADAL" clId="{F798D4AA-0E14-EB43-9CA0-DC099737DEE1}" dt="2023-11-21T06:19:40.047" v="6214"/>
          <ac:picMkLst>
            <pc:docMk/>
            <pc:sldMk cId="1317308889" sldId="2147309860"/>
            <ac:picMk id="63" creationId="{AB0A2F93-6E69-B133-467D-338CF65D1BFC}"/>
          </ac:picMkLst>
        </pc:picChg>
        <pc:picChg chg="add mod">
          <ac:chgData name="Kau, Derchang" userId="b9148588-e694-4445-9765-2c9aad6149ce" providerId="ADAL" clId="{F798D4AA-0E14-EB43-9CA0-DC099737DEE1}" dt="2023-11-27T22:57:20.413" v="8948" actId="1076"/>
          <ac:picMkLst>
            <pc:docMk/>
            <pc:sldMk cId="1317308889" sldId="2147309860"/>
            <ac:picMk id="63" creationId="{C2A843C4-4DEA-C4AD-1F5E-91D3F0EBA20F}"/>
          </ac:picMkLst>
        </pc:picChg>
      </pc:sldChg>
      <pc:sldChg chg="modSp add mod">
        <pc:chgData name="Kau, Derchang" userId="b9148588-e694-4445-9765-2c9aad6149ce" providerId="ADAL" clId="{F798D4AA-0E14-EB43-9CA0-DC099737DEE1}" dt="2023-11-22T03:51:24.438" v="7516" actId="20577"/>
        <pc:sldMkLst>
          <pc:docMk/>
          <pc:sldMk cId="2584483161" sldId="2147309861"/>
        </pc:sldMkLst>
        <pc:spChg chg="mod">
          <ac:chgData name="Kau, Derchang" userId="b9148588-e694-4445-9765-2c9aad6149ce" providerId="ADAL" clId="{F798D4AA-0E14-EB43-9CA0-DC099737DEE1}" dt="2023-11-21T06:11:21.484" v="6084" actId="20577"/>
          <ac:spMkLst>
            <pc:docMk/>
            <pc:sldMk cId="2584483161" sldId="2147309861"/>
            <ac:spMk id="2" creationId="{151ABABF-1912-AD4E-BC45-28EAE79AEEA0}"/>
          </ac:spMkLst>
        </pc:spChg>
        <pc:spChg chg="mod">
          <ac:chgData name="Kau, Derchang" userId="b9148588-e694-4445-9765-2c9aad6149ce" providerId="ADAL" clId="{F798D4AA-0E14-EB43-9CA0-DC099737DEE1}" dt="2023-11-22T03:51:24.438" v="7516" actId="20577"/>
          <ac:spMkLst>
            <pc:docMk/>
            <pc:sldMk cId="2584483161" sldId="2147309861"/>
            <ac:spMk id="3" creationId="{BD61A205-E58C-1251-9045-43E75AB05619}"/>
          </ac:spMkLst>
        </pc:spChg>
      </pc:sldChg>
      <pc:sldChg chg="add">
        <pc:chgData name="Kau, Derchang" userId="b9148588-e694-4445-9765-2c9aad6149ce" providerId="ADAL" clId="{F798D4AA-0E14-EB43-9CA0-DC099737DEE1}" dt="2023-11-21T18:39:43.008" v="7259"/>
        <pc:sldMkLst>
          <pc:docMk/>
          <pc:sldMk cId="3573756059" sldId="2147309862"/>
        </pc:sldMkLst>
      </pc:sldChg>
      <pc:sldChg chg="addSp modSp new mod">
        <pc:chgData name="Kau, Derchang" userId="b9148588-e694-4445-9765-2c9aad6149ce" providerId="ADAL" clId="{F798D4AA-0E14-EB43-9CA0-DC099737DEE1}" dt="2023-11-21T18:44:57.931" v="7265" actId="20577"/>
        <pc:sldMkLst>
          <pc:docMk/>
          <pc:sldMk cId="1950694991" sldId="2147309863"/>
        </pc:sldMkLst>
        <pc:spChg chg="add mod">
          <ac:chgData name="Kau, Derchang" userId="b9148588-e694-4445-9765-2c9aad6149ce" providerId="ADAL" clId="{F798D4AA-0E14-EB43-9CA0-DC099737DEE1}" dt="2023-11-21T18:44:57.931" v="7265" actId="20577"/>
          <ac:spMkLst>
            <pc:docMk/>
            <pc:sldMk cId="1950694991" sldId="2147309863"/>
            <ac:spMk id="4" creationId="{5640C1E0-E19A-823E-AFC9-E1A7614791E3}"/>
          </ac:spMkLst>
        </pc:spChg>
        <pc:picChg chg="add mod">
          <ac:chgData name="Kau, Derchang" userId="b9148588-e694-4445-9765-2c9aad6149ce" providerId="ADAL" clId="{F798D4AA-0E14-EB43-9CA0-DC099737DEE1}" dt="2023-11-21T18:44:32.244" v="7262" actId="1076"/>
          <ac:picMkLst>
            <pc:docMk/>
            <pc:sldMk cId="1950694991" sldId="2147309863"/>
            <ac:picMk id="2" creationId="{62AF202D-9F52-42A0-8562-530691DB715A}"/>
          </ac:picMkLst>
        </pc:picChg>
      </pc:sldChg>
      <pc:sldChg chg="modSp new mod">
        <pc:chgData name="Kau, Derchang" userId="b9148588-e694-4445-9765-2c9aad6149ce" providerId="ADAL" clId="{F798D4AA-0E14-EB43-9CA0-DC099737DEE1}" dt="2023-11-22T04:13:16.773" v="7896" actId="20577"/>
        <pc:sldMkLst>
          <pc:docMk/>
          <pc:sldMk cId="3377534181" sldId="2147309864"/>
        </pc:sldMkLst>
        <pc:spChg chg="mod">
          <ac:chgData name="Kau, Derchang" userId="b9148588-e694-4445-9765-2c9aad6149ce" providerId="ADAL" clId="{F798D4AA-0E14-EB43-9CA0-DC099737DEE1}" dt="2023-11-22T04:13:16.773" v="7896" actId="20577"/>
          <ac:spMkLst>
            <pc:docMk/>
            <pc:sldMk cId="3377534181" sldId="2147309864"/>
            <ac:spMk id="2" creationId="{8E045092-57F0-312A-2474-7EE2B663F769}"/>
          </ac:spMkLst>
        </pc:spChg>
      </pc:sldChg>
      <pc:sldChg chg="addSp delSp modSp new del mod">
        <pc:chgData name="Kau, Derchang" userId="b9148588-e694-4445-9765-2c9aad6149ce" providerId="ADAL" clId="{F798D4AA-0E14-EB43-9CA0-DC099737DEE1}" dt="2023-11-28T17:43:12.070" v="9177" actId="2696"/>
        <pc:sldMkLst>
          <pc:docMk/>
          <pc:sldMk cId="2803185858" sldId="2147309865"/>
        </pc:sldMkLst>
        <pc:spChg chg="mod topLvl">
          <ac:chgData name="Kau, Derchang" userId="b9148588-e694-4445-9765-2c9aad6149ce" providerId="ADAL" clId="{F798D4AA-0E14-EB43-9CA0-DC099737DEE1}" dt="2023-11-22T04:32:31.884" v="8062" actId="207"/>
          <ac:spMkLst>
            <pc:docMk/>
            <pc:sldMk cId="2803185858" sldId="2147309865"/>
            <ac:spMk id="15" creationId="{AD0DACC0-01CE-8BB6-B0C3-495B63D3E9FE}"/>
          </ac:spMkLst>
        </pc:spChg>
        <pc:spChg chg="mod topLvl">
          <ac:chgData name="Kau, Derchang" userId="b9148588-e694-4445-9765-2c9aad6149ce" providerId="ADAL" clId="{F798D4AA-0E14-EB43-9CA0-DC099737DEE1}" dt="2023-11-22T04:32:31.884" v="8062" actId="207"/>
          <ac:spMkLst>
            <pc:docMk/>
            <pc:sldMk cId="2803185858" sldId="2147309865"/>
            <ac:spMk id="16" creationId="{457A19E8-12D7-3B9D-5BDD-0D898A875F77}"/>
          </ac:spMkLst>
        </pc:spChg>
        <pc:spChg chg="mod topLvl">
          <ac:chgData name="Kau, Derchang" userId="b9148588-e694-4445-9765-2c9aad6149ce" providerId="ADAL" clId="{F798D4AA-0E14-EB43-9CA0-DC099737DEE1}" dt="2023-11-22T04:32:31.884" v="8062" actId="207"/>
          <ac:spMkLst>
            <pc:docMk/>
            <pc:sldMk cId="2803185858" sldId="2147309865"/>
            <ac:spMk id="17" creationId="{18FF7D1B-BCFD-F0CD-550A-CBC15CD20CC9}"/>
          </ac:spMkLst>
        </pc:spChg>
        <pc:spChg chg="mod topLvl">
          <ac:chgData name="Kau, Derchang" userId="b9148588-e694-4445-9765-2c9aad6149ce" providerId="ADAL" clId="{F798D4AA-0E14-EB43-9CA0-DC099737DEE1}" dt="2023-11-22T04:32:31.884" v="8062" actId="207"/>
          <ac:spMkLst>
            <pc:docMk/>
            <pc:sldMk cId="2803185858" sldId="2147309865"/>
            <ac:spMk id="18" creationId="{B93A436A-6D61-2C48-F5BC-98DD26066C8B}"/>
          </ac:spMkLst>
        </pc:spChg>
        <pc:spChg chg="mod">
          <ac:chgData name="Kau, Derchang" userId="b9148588-e694-4445-9765-2c9aad6149ce" providerId="ADAL" clId="{F798D4AA-0E14-EB43-9CA0-DC099737DEE1}" dt="2023-11-22T04:16:20.913" v="7929"/>
          <ac:spMkLst>
            <pc:docMk/>
            <pc:sldMk cId="2803185858" sldId="2147309865"/>
            <ac:spMk id="20" creationId="{B7097A06-EE43-FAD0-8B65-4C74BFB5798A}"/>
          </ac:spMkLst>
        </pc:spChg>
        <pc:spChg chg="mod">
          <ac:chgData name="Kau, Derchang" userId="b9148588-e694-4445-9765-2c9aad6149ce" providerId="ADAL" clId="{F798D4AA-0E14-EB43-9CA0-DC099737DEE1}" dt="2023-11-22T04:16:20.913" v="7929"/>
          <ac:spMkLst>
            <pc:docMk/>
            <pc:sldMk cId="2803185858" sldId="2147309865"/>
            <ac:spMk id="21" creationId="{C3083855-FE18-86E9-73BE-27DF6AD7B787}"/>
          </ac:spMkLst>
        </pc:spChg>
        <pc:spChg chg="mod">
          <ac:chgData name="Kau, Derchang" userId="b9148588-e694-4445-9765-2c9aad6149ce" providerId="ADAL" clId="{F798D4AA-0E14-EB43-9CA0-DC099737DEE1}" dt="2023-11-22T04:16:20.913" v="7929"/>
          <ac:spMkLst>
            <pc:docMk/>
            <pc:sldMk cId="2803185858" sldId="2147309865"/>
            <ac:spMk id="22" creationId="{329DC1F6-DC92-1DC4-0E1C-68AB03F109E5}"/>
          </ac:spMkLst>
        </pc:spChg>
        <pc:spChg chg="mod">
          <ac:chgData name="Kau, Derchang" userId="b9148588-e694-4445-9765-2c9aad6149ce" providerId="ADAL" clId="{F798D4AA-0E14-EB43-9CA0-DC099737DEE1}" dt="2023-11-22T04:16:20.913" v="7929"/>
          <ac:spMkLst>
            <pc:docMk/>
            <pc:sldMk cId="2803185858" sldId="2147309865"/>
            <ac:spMk id="23" creationId="{E3B47D9C-8723-91FD-FEF6-F0A631DA8859}"/>
          </ac:spMkLst>
        </pc:spChg>
        <pc:spChg chg="mod">
          <ac:chgData name="Kau, Derchang" userId="b9148588-e694-4445-9765-2c9aad6149ce" providerId="ADAL" clId="{F798D4AA-0E14-EB43-9CA0-DC099737DEE1}" dt="2023-11-22T04:16:20.913" v="7929"/>
          <ac:spMkLst>
            <pc:docMk/>
            <pc:sldMk cId="2803185858" sldId="2147309865"/>
            <ac:spMk id="24" creationId="{05C20B16-5048-BE72-93B9-E863BF053DB9}"/>
          </ac:spMkLst>
        </pc:spChg>
        <pc:spChg chg="mod">
          <ac:chgData name="Kau, Derchang" userId="b9148588-e694-4445-9765-2c9aad6149ce" providerId="ADAL" clId="{F798D4AA-0E14-EB43-9CA0-DC099737DEE1}" dt="2023-11-22T04:16:20.913" v="7929"/>
          <ac:spMkLst>
            <pc:docMk/>
            <pc:sldMk cId="2803185858" sldId="2147309865"/>
            <ac:spMk id="25" creationId="{7B41E6BB-8958-FDEF-DF85-6B81581EA9C0}"/>
          </ac:spMkLst>
        </pc:spChg>
        <pc:spChg chg="mod">
          <ac:chgData name="Kau, Derchang" userId="b9148588-e694-4445-9765-2c9aad6149ce" providerId="ADAL" clId="{F798D4AA-0E14-EB43-9CA0-DC099737DEE1}" dt="2023-11-22T04:16:20.913" v="7929"/>
          <ac:spMkLst>
            <pc:docMk/>
            <pc:sldMk cId="2803185858" sldId="2147309865"/>
            <ac:spMk id="26" creationId="{0E088ECB-EABF-A29E-031A-7B706AACE3E5}"/>
          </ac:spMkLst>
        </pc:spChg>
        <pc:spChg chg="mod">
          <ac:chgData name="Kau, Derchang" userId="b9148588-e694-4445-9765-2c9aad6149ce" providerId="ADAL" clId="{F798D4AA-0E14-EB43-9CA0-DC099737DEE1}" dt="2023-11-22T04:16:20.913" v="7929"/>
          <ac:spMkLst>
            <pc:docMk/>
            <pc:sldMk cId="2803185858" sldId="2147309865"/>
            <ac:spMk id="27" creationId="{62E9CF9F-01AC-D3C8-94FF-5E58007E6129}"/>
          </ac:spMkLst>
        </pc:spChg>
        <pc:spChg chg="mod">
          <ac:chgData name="Kau, Derchang" userId="b9148588-e694-4445-9765-2c9aad6149ce" providerId="ADAL" clId="{F798D4AA-0E14-EB43-9CA0-DC099737DEE1}" dt="2023-11-22T04:16:20.913" v="7929"/>
          <ac:spMkLst>
            <pc:docMk/>
            <pc:sldMk cId="2803185858" sldId="2147309865"/>
            <ac:spMk id="28" creationId="{120AD42F-7CEB-177B-588C-9D3B0AC8EFA5}"/>
          </ac:spMkLst>
        </pc:spChg>
        <pc:spChg chg="mod">
          <ac:chgData name="Kau, Derchang" userId="b9148588-e694-4445-9765-2c9aad6149ce" providerId="ADAL" clId="{F798D4AA-0E14-EB43-9CA0-DC099737DEE1}" dt="2023-11-22T04:16:20.913" v="7929"/>
          <ac:spMkLst>
            <pc:docMk/>
            <pc:sldMk cId="2803185858" sldId="2147309865"/>
            <ac:spMk id="29" creationId="{4BC0C1EF-DD55-1830-2E00-25D7A2CC9C00}"/>
          </ac:spMkLst>
        </pc:spChg>
        <pc:spChg chg="mod">
          <ac:chgData name="Kau, Derchang" userId="b9148588-e694-4445-9765-2c9aad6149ce" providerId="ADAL" clId="{F798D4AA-0E14-EB43-9CA0-DC099737DEE1}" dt="2023-11-22T04:16:20.913" v="7929"/>
          <ac:spMkLst>
            <pc:docMk/>
            <pc:sldMk cId="2803185858" sldId="2147309865"/>
            <ac:spMk id="30" creationId="{6DBE047B-BCC3-3071-4E1A-2E6F6A42E6BF}"/>
          </ac:spMkLst>
        </pc:spChg>
        <pc:spChg chg="mod">
          <ac:chgData name="Kau, Derchang" userId="b9148588-e694-4445-9765-2c9aad6149ce" providerId="ADAL" clId="{F798D4AA-0E14-EB43-9CA0-DC099737DEE1}" dt="2023-11-22T04:16:20.913" v="7929"/>
          <ac:spMkLst>
            <pc:docMk/>
            <pc:sldMk cId="2803185858" sldId="2147309865"/>
            <ac:spMk id="31" creationId="{8E82ECFC-FE09-C49E-E79A-43A3B4A03D0B}"/>
          </ac:spMkLst>
        </pc:spChg>
        <pc:spChg chg="mod">
          <ac:chgData name="Kau, Derchang" userId="b9148588-e694-4445-9765-2c9aad6149ce" providerId="ADAL" clId="{F798D4AA-0E14-EB43-9CA0-DC099737DEE1}" dt="2023-11-22T04:16:20.913" v="7929"/>
          <ac:spMkLst>
            <pc:docMk/>
            <pc:sldMk cId="2803185858" sldId="2147309865"/>
            <ac:spMk id="32" creationId="{15DEAF18-AD6F-42E5-E0FD-D0A9533BF1CD}"/>
          </ac:spMkLst>
        </pc:spChg>
        <pc:spChg chg="mod">
          <ac:chgData name="Kau, Derchang" userId="b9148588-e694-4445-9765-2c9aad6149ce" providerId="ADAL" clId="{F798D4AA-0E14-EB43-9CA0-DC099737DEE1}" dt="2023-11-22T04:16:20.913" v="7929"/>
          <ac:spMkLst>
            <pc:docMk/>
            <pc:sldMk cId="2803185858" sldId="2147309865"/>
            <ac:spMk id="33" creationId="{2A5C5947-51D0-7490-9D18-E0346851356E}"/>
          </ac:spMkLst>
        </pc:spChg>
        <pc:spChg chg="mod">
          <ac:chgData name="Kau, Derchang" userId="b9148588-e694-4445-9765-2c9aad6149ce" providerId="ADAL" clId="{F798D4AA-0E14-EB43-9CA0-DC099737DEE1}" dt="2023-11-22T04:16:20.913" v="7929"/>
          <ac:spMkLst>
            <pc:docMk/>
            <pc:sldMk cId="2803185858" sldId="2147309865"/>
            <ac:spMk id="34" creationId="{70BF76BC-3898-AB99-BE72-11DCCE1F5486}"/>
          </ac:spMkLst>
        </pc:spChg>
        <pc:spChg chg="mod">
          <ac:chgData name="Kau, Derchang" userId="b9148588-e694-4445-9765-2c9aad6149ce" providerId="ADAL" clId="{F798D4AA-0E14-EB43-9CA0-DC099737DEE1}" dt="2023-11-22T04:16:20.913" v="7929"/>
          <ac:spMkLst>
            <pc:docMk/>
            <pc:sldMk cId="2803185858" sldId="2147309865"/>
            <ac:spMk id="35" creationId="{854B6FC0-5C5E-8616-3A3C-5084F8EE2DC2}"/>
          </ac:spMkLst>
        </pc:spChg>
        <pc:spChg chg="mod">
          <ac:chgData name="Kau, Derchang" userId="b9148588-e694-4445-9765-2c9aad6149ce" providerId="ADAL" clId="{F798D4AA-0E14-EB43-9CA0-DC099737DEE1}" dt="2023-11-22T04:16:20.913" v="7929"/>
          <ac:spMkLst>
            <pc:docMk/>
            <pc:sldMk cId="2803185858" sldId="2147309865"/>
            <ac:spMk id="36" creationId="{3624FFE0-DBB5-2BAE-30F4-8FDA125A1430}"/>
          </ac:spMkLst>
        </pc:spChg>
        <pc:spChg chg="mod">
          <ac:chgData name="Kau, Derchang" userId="b9148588-e694-4445-9765-2c9aad6149ce" providerId="ADAL" clId="{F798D4AA-0E14-EB43-9CA0-DC099737DEE1}" dt="2023-11-22T04:16:20.913" v="7929"/>
          <ac:spMkLst>
            <pc:docMk/>
            <pc:sldMk cId="2803185858" sldId="2147309865"/>
            <ac:spMk id="37" creationId="{693E408F-C5BB-0FA3-25FC-FA77924B1AE2}"/>
          </ac:spMkLst>
        </pc:spChg>
        <pc:spChg chg="mod">
          <ac:chgData name="Kau, Derchang" userId="b9148588-e694-4445-9765-2c9aad6149ce" providerId="ADAL" clId="{F798D4AA-0E14-EB43-9CA0-DC099737DEE1}" dt="2023-11-22T04:16:20.913" v="7929"/>
          <ac:spMkLst>
            <pc:docMk/>
            <pc:sldMk cId="2803185858" sldId="2147309865"/>
            <ac:spMk id="38" creationId="{8D99671D-DDF3-47EA-8DCE-4624FBF70BF8}"/>
          </ac:spMkLst>
        </pc:spChg>
        <pc:spChg chg="mod">
          <ac:chgData name="Kau, Derchang" userId="b9148588-e694-4445-9765-2c9aad6149ce" providerId="ADAL" clId="{F798D4AA-0E14-EB43-9CA0-DC099737DEE1}" dt="2023-11-22T04:16:20.913" v="7929"/>
          <ac:spMkLst>
            <pc:docMk/>
            <pc:sldMk cId="2803185858" sldId="2147309865"/>
            <ac:spMk id="39" creationId="{B4C1D75C-6B24-0446-6CB4-01FB481534CD}"/>
          </ac:spMkLst>
        </pc:spChg>
        <pc:spChg chg="mod">
          <ac:chgData name="Kau, Derchang" userId="b9148588-e694-4445-9765-2c9aad6149ce" providerId="ADAL" clId="{F798D4AA-0E14-EB43-9CA0-DC099737DEE1}" dt="2023-11-22T04:16:20.913" v="7929"/>
          <ac:spMkLst>
            <pc:docMk/>
            <pc:sldMk cId="2803185858" sldId="2147309865"/>
            <ac:spMk id="40" creationId="{904C86BB-E407-0963-0D4E-A90399A9C5B6}"/>
          </ac:spMkLst>
        </pc:spChg>
        <pc:spChg chg="mod">
          <ac:chgData name="Kau, Derchang" userId="b9148588-e694-4445-9765-2c9aad6149ce" providerId="ADAL" clId="{F798D4AA-0E14-EB43-9CA0-DC099737DEE1}" dt="2023-11-22T04:16:20.913" v="7929"/>
          <ac:spMkLst>
            <pc:docMk/>
            <pc:sldMk cId="2803185858" sldId="2147309865"/>
            <ac:spMk id="41" creationId="{A11EF367-14B3-FF1F-CDAF-BF7B45BB3D40}"/>
          </ac:spMkLst>
        </pc:spChg>
        <pc:spChg chg="mod">
          <ac:chgData name="Kau, Derchang" userId="b9148588-e694-4445-9765-2c9aad6149ce" providerId="ADAL" clId="{F798D4AA-0E14-EB43-9CA0-DC099737DEE1}" dt="2023-11-22T04:16:20.913" v="7929"/>
          <ac:spMkLst>
            <pc:docMk/>
            <pc:sldMk cId="2803185858" sldId="2147309865"/>
            <ac:spMk id="42" creationId="{D403F2AA-FD05-53BC-FAFA-6F8560E1D8A3}"/>
          </ac:spMkLst>
        </pc:spChg>
        <pc:spChg chg="mod">
          <ac:chgData name="Kau, Derchang" userId="b9148588-e694-4445-9765-2c9aad6149ce" providerId="ADAL" clId="{F798D4AA-0E14-EB43-9CA0-DC099737DEE1}" dt="2023-11-22T04:16:20.913" v="7929"/>
          <ac:spMkLst>
            <pc:docMk/>
            <pc:sldMk cId="2803185858" sldId="2147309865"/>
            <ac:spMk id="43" creationId="{89169336-7C2E-F8CD-F300-1B87759A255E}"/>
          </ac:spMkLst>
        </pc:spChg>
        <pc:spChg chg="mod">
          <ac:chgData name="Kau, Derchang" userId="b9148588-e694-4445-9765-2c9aad6149ce" providerId="ADAL" clId="{F798D4AA-0E14-EB43-9CA0-DC099737DEE1}" dt="2023-11-22T04:16:20.913" v="7929"/>
          <ac:spMkLst>
            <pc:docMk/>
            <pc:sldMk cId="2803185858" sldId="2147309865"/>
            <ac:spMk id="44" creationId="{561C4999-918E-37A1-C99F-CA80EF07904F}"/>
          </ac:spMkLst>
        </pc:spChg>
        <pc:spChg chg="mod">
          <ac:chgData name="Kau, Derchang" userId="b9148588-e694-4445-9765-2c9aad6149ce" providerId="ADAL" clId="{F798D4AA-0E14-EB43-9CA0-DC099737DEE1}" dt="2023-11-22T04:16:20.913" v="7929"/>
          <ac:spMkLst>
            <pc:docMk/>
            <pc:sldMk cId="2803185858" sldId="2147309865"/>
            <ac:spMk id="45" creationId="{2ACFD15B-919B-83CF-14A5-64736D2769EB}"/>
          </ac:spMkLst>
        </pc:spChg>
        <pc:spChg chg="mod">
          <ac:chgData name="Kau, Derchang" userId="b9148588-e694-4445-9765-2c9aad6149ce" providerId="ADAL" clId="{F798D4AA-0E14-EB43-9CA0-DC099737DEE1}" dt="2023-11-22T04:16:20.913" v="7929"/>
          <ac:spMkLst>
            <pc:docMk/>
            <pc:sldMk cId="2803185858" sldId="2147309865"/>
            <ac:spMk id="46" creationId="{95907653-6226-3DBF-0F5F-C8D7032DA762}"/>
          </ac:spMkLst>
        </pc:spChg>
        <pc:spChg chg="mod">
          <ac:chgData name="Kau, Derchang" userId="b9148588-e694-4445-9765-2c9aad6149ce" providerId="ADAL" clId="{F798D4AA-0E14-EB43-9CA0-DC099737DEE1}" dt="2023-11-22T04:16:20.913" v="7929"/>
          <ac:spMkLst>
            <pc:docMk/>
            <pc:sldMk cId="2803185858" sldId="2147309865"/>
            <ac:spMk id="47" creationId="{F2258898-6F8E-ACDD-B4FB-2BE09B5416F7}"/>
          </ac:spMkLst>
        </pc:spChg>
        <pc:spChg chg="mod">
          <ac:chgData name="Kau, Derchang" userId="b9148588-e694-4445-9765-2c9aad6149ce" providerId="ADAL" clId="{F798D4AA-0E14-EB43-9CA0-DC099737DEE1}" dt="2023-11-22T04:16:20.913" v="7929"/>
          <ac:spMkLst>
            <pc:docMk/>
            <pc:sldMk cId="2803185858" sldId="2147309865"/>
            <ac:spMk id="48" creationId="{2899F4C6-467B-27F7-B06B-1A27E4614E08}"/>
          </ac:spMkLst>
        </pc:spChg>
        <pc:spChg chg="mod">
          <ac:chgData name="Kau, Derchang" userId="b9148588-e694-4445-9765-2c9aad6149ce" providerId="ADAL" clId="{F798D4AA-0E14-EB43-9CA0-DC099737DEE1}" dt="2023-11-22T04:16:20.913" v="7929"/>
          <ac:spMkLst>
            <pc:docMk/>
            <pc:sldMk cId="2803185858" sldId="2147309865"/>
            <ac:spMk id="49" creationId="{700172CC-B4D3-6FD5-24C7-3CFEAC4EC7E6}"/>
          </ac:spMkLst>
        </pc:spChg>
        <pc:spChg chg="mod">
          <ac:chgData name="Kau, Derchang" userId="b9148588-e694-4445-9765-2c9aad6149ce" providerId="ADAL" clId="{F798D4AA-0E14-EB43-9CA0-DC099737DEE1}" dt="2023-11-22T04:16:20.913" v="7929"/>
          <ac:spMkLst>
            <pc:docMk/>
            <pc:sldMk cId="2803185858" sldId="2147309865"/>
            <ac:spMk id="50" creationId="{3765DD33-5AB1-0ADF-F244-590324074266}"/>
          </ac:spMkLst>
        </pc:spChg>
        <pc:spChg chg="mod">
          <ac:chgData name="Kau, Derchang" userId="b9148588-e694-4445-9765-2c9aad6149ce" providerId="ADAL" clId="{F798D4AA-0E14-EB43-9CA0-DC099737DEE1}" dt="2023-11-22T04:16:20.913" v="7929"/>
          <ac:spMkLst>
            <pc:docMk/>
            <pc:sldMk cId="2803185858" sldId="2147309865"/>
            <ac:spMk id="51" creationId="{9D75ACA2-E7B6-4507-B989-FE8F7805F8F6}"/>
          </ac:spMkLst>
        </pc:spChg>
        <pc:spChg chg="mod">
          <ac:chgData name="Kau, Derchang" userId="b9148588-e694-4445-9765-2c9aad6149ce" providerId="ADAL" clId="{F798D4AA-0E14-EB43-9CA0-DC099737DEE1}" dt="2023-11-22T04:16:20.913" v="7929"/>
          <ac:spMkLst>
            <pc:docMk/>
            <pc:sldMk cId="2803185858" sldId="2147309865"/>
            <ac:spMk id="52" creationId="{1295DEC0-1838-1522-CD35-1FB1140E11D2}"/>
          </ac:spMkLst>
        </pc:spChg>
        <pc:spChg chg="mod">
          <ac:chgData name="Kau, Derchang" userId="b9148588-e694-4445-9765-2c9aad6149ce" providerId="ADAL" clId="{F798D4AA-0E14-EB43-9CA0-DC099737DEE1}" dt="2023-11-22T04:16:20.913" v="7929"/>
          <ac:spMkLst>
            <pc:docMk/>
            <pc:sldMk cId="2803185858" sldId="2147309865"/>
            <ac:spMk id="53" creationId="{511CA38B-1F21-A5F7-19FF-18B5546F523A}"/>
          </ac:spMkLst>
        </pc:spChg>
        <pc:spChg chg="mod">
          <ac:chgData name="Kau, Derchang" userId="b9148588-e694-4445-9765-2c9aad6149ce" providerId="ADAL" clId="{F798D4AA-0E14-EB43-9CA0-DC099737DEE1}" dt="2023-11-22T04:16:20.913" v="7929"/>
          <ac:spMkLst>
            <pc:docMk/>
            <pc:sldMk cId="2803185858" sldId="2147309865"/>
            <ac:spMk id="54" creationId="{F14C6D58-5871-1300-BBF8-A4274398EDC6}"/>
          </ac:spMkLst>
        </pc:spChg>
        <pc:spChg chg="mod">
          <ac:chgData name="Kau, Derchang" userId="b9148588-e694-4445-9765-2c9aad6149ce" providerId="ADAL" clId="{F798D4AA-0E14-EB43-9CA0-DC099737DEE1}" dt="2023-11-22T04:16:20.913" v="7929"/>
          <ac:spMkLst>
            <pc:docMk/>
            <pc:sldMk cId="2803185858" sldId="2147309865"/>
            <ac:spMk id="55" creationId="{DBEBD7F2-A27A-427B-641C-AF0064A13219}"/>
          </ac:spMkLst>
        </pc:spChg>
        <pc:spChg chg="add del mod">
          <ac:chgData name="Kau, Derchang" userId="b9148588-e694-4445-9765-2c9aad6149ce" providerId="ADAL" clId="{F798D4AA-0E14-EB43-9CA0-DC099737DEE1}" dt="2023-11-22T04:28:32.890" v="7994" actId="478"/>
          <ac:spMkLst>
            <pc:docMk/>
            <pc:sldMk cId="2803185858" sldId="2147309865"/>
            <ac:spMk id="57" creationId="{63D88ABC-BDCA-5F3A-C543-E1FD4CB3E10E}"/>
          </ac:spMkLst>
        </pc:spChg>
        <pc:spChg chg="add del mod">
          <ac:chgData name="Kau, Derchang" userId="b9148588-e694-4445-9765-2c9aad6149ce" providerId="ADAL" clId="{F798D4AA-0E14-EB43-9CA0-DC099737DEE1}" dt="2023-11-22T04:32:31.884" v="8062" actId="207"/>
          <ac:spMkLst>
            <pc:docMk/>
            <pc:sldMk cId="2803185858" sldId="2147309865"/>
            <ac:spMk id="58" creationId="{7EF38F92-0F33-5240-E856-07441F95AC99}"/>
          </ac:spMkLst>
        </pc:spChg>
        <pc:spChg chg="add del mod">
          <ac:chgData name="Kau, Derchang" userId="b9148588-e694-4445-9765-2c9aad6149ce" providerId="ADAL" clId="{F798D4AA-0E14-EB43-9CA0-DC099737DEE1}" dt="2023-11-22T04:27:04.478" v="7974"/>
          <ac:spMkLst>
            <pc:docMk/>
            <pc:sldMk cId="2803185858" sldId="2147309865"/>
            <ac:spMk id="59" creationId="{7888EF1C-47F1-1544-8616-34BDCAB64F56}"/>
          </ac:spMkLst>
        </pc:spChg>
        <pc:spChg chg="add mod">
          <ac:chgData name="Kau, Derchang" userId="b9148588-e694-4445-9765-2c9aad6149ce" providerId="ADAL" clId="{F798D4AA-0E14-EB43-9CA0-DC099737DEE1}" dt="2023-11-22T04:32:31.884" v="8062" actId="207"/>
          <ac:spMkLst>
            <pc:docMk/>
            <pc:sldMk cId="2803185858" sldId="2147309865"/>
            <ac:spMk id="60" creationId="{072FE0AC-18E1-C3AB-48ED-30AB9C9DA924}"/>
          </ac:spMkLst>
        </pc:spChg>
        <pc:spChg chg="add mod">
          <ac:chgData name="Kau, Derchang" userId="b9148588-e694-4445-9765-2c9aad6149ce" providerId="ADAL" clId="{F798D4AA-0E14-EB43-9CA0-DC099737DEE1}" dt="2023-11-22T04:42:16.629" v="8192" actId="20577"/>
          <ac:spMkLst>
            <pc:docMk/>
            <pc:sldMk cId="2803185858" sldId="2147309865"/>
            <ac:spMk id="61" creationId="{BE9FA49A-E145-CA26-7EF6-7C7A5228A4A3}"/>
          </ac:spMkLst>
        </pc:spChg>
        <pc:spChg chg="add mod">
          <ac:chgData name="Kau, Derchang" userId="b9148588-e694-4445-9765-2c9aad6149ce" providerId="ADAL" clId="{F798D4AA-0E14-EB43-9CA0-DC099737DEE1}" dt="2023-11-22T04:36:06.302" v="8171" actId="20577"/>
          <ac:spMkLst>
            <pc:docMk/>
            <pc:sldMk cId="2803185858" sldId="2147309865"/>
            <ac:spMk id="62" creationId="{7BFF5226-3211-4EA8-F046-2D302604E0B0}"/>
          </ac:spMkLst>
        </pc:spChg>
        <pc:spChg chg="add mod">
          <ac:chgData name="Kau, Derchang" userId="b9148588-e694-4445-9765-2c9aad6149ce" providerId="ADAL" clId="{F798D4AA-0E14-EB43-9CA0-DC099737DEE1}" dt="2023-11-22T04:38:03.101" v="8185" actId="20577"/>
          <ac:spMkLst>
            <pc:docMk/>
            <pc:sldMk cId="2803185858" sldId="2147309865"/>
            <ac:spMk id="63" creationId="{CE388509-9C5D-E566-3377-22FB42AC76CD}"/>
          </ac:spMkLst>
        </pc:spChg>
        <pc:grpChg chg="add del mod">
          <ac:chgData name="Kau, Derchang" userId="b9148588-e694-4445-9765-2c9aad6149ce" providerId="ADAL" clId="{F798D4AA-0E14-EB43-9CA0-DC099737DEE1}" dt="2023-11-22T04:16:26.522" v="7930" actId="165"/>
          <ac:grpSpMkLst>
            <pc:docMk/>
            <pc:sldMk cId="2803185858" sldId="2147309865"/>
            <ac:grpSpMk id="3" creationId="{24407B68-CAB7-6ADC-E470-870CEE593A35}"/>
          </ac:grpSpMkLst>
        </pc:grpChg>
        <pc:grpChg chg="mod topLvl">
          <ac:chgData name="Kau, Derchang" userId="b9148588-e694-4445-9765-2c9aad6149ce" providerId="ADAL" clId="{F798D4AA-0E14-EB43-9CA0-DC099737DEE1}" dt="2023-11-22T04:17:00.681" v="7934" actId="338"/>
          <ac:grpSpMkLst>
            <pc:docMk/>
            <pc:sldMk cId="2803185858" sldId="2147309865"/>
            <ac:grpSpMk id="4" creationId="{4DEAFA19-B0DB-AB54-BB54-93D029EBB1E0}"/>
          </ac:grpSpMkLst>
        </pc:grpChg>
        <pc:grpChg chg="mod topLvl">
          <ac:chgData name="Kau, Derchang" userId="b9148588-e694-4445-9765-2c9aad6149ce" providerId="ADAL" clId="{F798D4AA-0E14-EB43-9CA0-DC099737DEE1}" dt="2023-11-22T04:17:00.681" v="7934" actId="338"/>
          <ac:grpSpMkLst>
            <pc:docMk/>
            <pc:sldMk cId="2803185858" sldId="2147309865"/>
            <ac:grpSpMk id="5" creationId="{0E7A6E01-9469-480E-4304-57FF94CB8A9B}"/>
          </ac:grpSpMkLst>
        </pc:grpChg>
        <pc:grpChg chg="mod topLvl">
          <ac:chgData name="Kau, Derchang" userId="b9148588-e694-4445-9765-2c9aad6149ce" providerId="ADAL" clId="{F798D4AA-0E14-EB43-9CA0-DC099737DEE1}" dt="2023-11-22T04:17:00.681" v="7934" actId="338"/>
          <ac:grpSpMkLst>
            <pc:docMk/>
            <pc:sldMk cId="2803185858" sldId="2147309865"/>
            <ac:grpSpMk id="6" creationId="{999DA254-B7B8-9D89-09E6-6AAC0A9A2E6E}"/>
          </ac:grpSpMkLst>
        </pc:grpChg>
        <pc:grpChg chg="mod topLvl">
          <ac:chgData name="Kau, Derchang" userId="b9148588-e694-4445-9765-2c9aad6149ce" providerId="ADAL" clId="{F798D4AA-0E14-EB43-9CA0-DC099737DEE1}" dt="2023-11-22T04:17:00.681" v="7934" actId="338"/>
          <ac:grpSpMkLst>
            <pc:docMk/>
            <pc:sldMk cId="2803185858" sldId="2147309865"/>
            <ac:grpSpMk id="9" creationId="{D363089C-D291-3A5F-E45C-D19586E3B961}"/>
          </ac:grpSpMkLst>
        </pc:grpChg>
        <pc:grpChg chg="mod topLvl">
          <ac:chgData name="Kau, Derchang" userId="b9148588-e694-4445-9765-2c9aad6149ce" providerId="ADAL" clId="{F798D4AA-0E14-EB43-9CA0-DC099737DEE1}" dt="2023-11-22T04:17:00.681" v="7934" actId="338"/>
          <ac:grpSpMkLst>
            <pc:docMk/>
            <pc:sldMk cId="2803185858" sldId="2147309865"/>
            <ac:grpSpMk id="11" creationId="{BA1B5D67-8E5C-8B39-50E9-B0FE223DA6D3}"/>
          </ac:grpSpMkLst>
        </pc:grpChg>
        <pc:grpChg chg="mod topLvl">
          <ac:chgData name="Kau, Derchang" userId="b9148588-e694-4445-9765-2c9aad6149ce" providerId="ADAL" clId="{F798D4AA-0E14-EB43-9CA0-DC099737DEE1}" dt="2023-11-22T04:17:00.681" v="7934" actId="338"/>
          <ac:grpSpMkLst>
            <pc:docMk/>
            <pc:sldMk cId="2803185858" sldId="2147309865"/>
            <ac:grpSpMk id="13" creationId="{363E2E03-CF40-31AB-8FDC-D8D895203E41}"/>
          </ac:grpSpMkLst>
        </pc:grpChg>
        <pc:grpChg chg="add del">
          <ac:chgData name="Kau, Derchang" userId="b9148588-e694-4445-9765-2c9aad6149ce" providerId="ADAL" clId="{F798D4AA-0E14-EB43-9CA0-DC099737DEE1}" dt="2023-11-22T04:17:00.681" v="7934" actId="338"/>
          <ac:grpSpMkLst>
            <pc:docMk/>
            <pc:sldMk cId="2803185858" sldId="2147309865"/>
            <ac:grpSpMk id="56" creationId="{C4D25A17-4D91-3686-E4D1-3487546EAE3D}"/>
          </ac:grpSpMkLst>
        </pc:grpChg>
        <pc:picChg chg="mod topLvl">
          <ac:chgData name="Kau, Derchang" userId="b9148588-e694-4445-9765-2c9aad6149ce" providerId="ADAL" clId="{F798D4AA-0E14-EB43-9CA0-DC099737DEE1}" dt="2023-11-22T04:17:00.681" v="7934" actId="338"/>
          <ac:picMkLst>
            <pc:docMk/>
            <pc:sldMk cId="2803185858" sldId="2147309865"/>
            <ac:picMk id="7" creationId="{08789188-3F92-6499-492A-7D8C653AE4C0}"/>
          </ac:picMkLst>
        </pc:picChg>
        <pc:picChg chg="del mod topLvl">
          <ac:chgData name="Kau, Derchang" userId="b9148588-e694-4445-9765-2c9aad6149ce" providerId="ADAL" clId="{F798D4AA-0E14-EB43-9CA0-DC099737DEE1}" dt="2023-11-22T04:33:38.884" v="8091" actId="478"/>
          <ac:picMkLst>
            <pc:docMk/>
            <pc:sldMk cId="2803185858" sldId="2147309865"/>
            <ac:picMk id="8" creationId="{600E2FD1-F3B9-5CED-693B-A6F008413BB4}"/>
          </ac:picMkLst>
        </pc:picChg>
        <pc:picChg chg="mod topLvl">
          <ac:chgData name="Kau, Derchang" userId="b9148588-e694-4445-9765-2c9aad6149ce" providerId="ADAL" clId="{F798D4AA-0E14-EB43-9CA0-DC099737DEE1}" dt="2023-11-22T04:30:41.796" v="8051" actId="1076"/>
          <ac:picMkLst>
            <pc:docMk/>
            <pc:sldMk cId="2803185858" sldId="2147309865"/>
            <ac:picMk id="10" creationId="{FD0D8B68-D3ED-5B8D-28F7-1A71AB91FF75}"/>
          </ac:picMkLst>
        </pc:picChg>
        <pc:picChg chg="del mod topLvl">
          <ac:chgData name="Kau, Derchang" userId="b9148588-e694-4445-9765-2c9aad6149ce" providerId="ADAL" clId="{F798D4AA-0E14-EB43-9CA0-DC099737DEE1}" dt="2023-11-22T04:24:57.064" v="7945" actId="478"/>
          <ac:picMkLst>
            <pc:docMk/>
            <pc:sldMk cId="2803185858" sldId="2147309865"/>
            <ac:picMk id="12" creationId="{373F2F5A-8A07-CE44-FCC0-97E76156664B}"/>
          </ac:picMkLst>
        </pc:picChg>
        <pc:picChg chg="del mod topLvl">
          <ac:chgData name="Kau, Derchang" userId="b9148588-e694-4445-9765-2c9aad6149ce" providerId="ADAL" clId="{F798D4AA-0E14-EB43-9CA0-DC099737DEE1}" dt="2023-11-22T04:24:57.064" v="7945" actId="478"/>
          <ac:picMkLst>
            <pc:docMk/>
            <pc:sldMk cId="2803185858" sldId="2147309865"/>
            <ac:picMk id="14" creationId="{824DCB10-1027-1ECE-EBD2-48249B28FA23}"/>
          </ac:picMkLst>
        </pc:picChg>
        <pc:picChg chg="del mod topLvl">
          <ac:chgData name="Kau, Derchang" userId="b9148588-e694-4445-9765-2c9aad6149ce" providerId="ADAL" clId="{F798D4AA-0E14-EB43-9CA0-DC099737DEE1}" dt="2023-11-22T04:24:57.064" v="7945" actId="478"/>
          <ac:picMkLst>
            <pc:docMk/>
            <pc:sldMk cId="2803185858" sldId="2147309865"/>
            <ac:picMk id="19" creationId="{93D6DD00-64E1-3938-8335-DE50A9C8B9E4}"/>
          </ac:picMkLst>
        </pc:picChg>
      </pc:sldChg>
      <pc:sldChg chg="addSp delSp modSp new del mod delAnim modAnim">
        <pc:chgData name="Kau, Derchang" userId="b9148588-e694-4445-9765-2c9aad6149ce" providerId="ADAL" clId="{F798D4AA-0E14-EB43-9CA0-DC099737DEE1}" dt="2023-11-28T17:43:14.130" v="9178" actId="2696"/>
        <pc:sldMkLst>
          <pc:docMk/>
          <pc:sldMk cId="555519610" sldId="2147309866"/>
        </pc:sldMkLst>
        <pc:spChg chg="add del mod">
          <ac:chgData name="Kau, Derchang" userId="b9148588-e694-4445-9765-2c9aad6149ce" providerId="ADAL" clId="{F798D4AA-0E14-EB43-9CA0-DC099737DEE1}" dt="2023-11-22T04:23:46.063" v="7938" actId="478"/>
          <ac:spMkLst>
            <pc:docMk/>
            <pc:sldMk cId="555519610" sldId="2147309866"/>
            <ac:spMk id="3" creationId="{7BD57046-5284-F17D-4D54-98BCF6B61AAE}"/>
          </ac:spMkLst>
        </pc:spChg>
        <pc:spChg chg="add del mod">
          <ac:chgData name="Kau, Derchang" userId="b9148588-e694-4445-9765-2c9aad6149ce" providerId="ADAL" clId="{F798D4AA-0E14-EB43-9CA0-DC099737DEE1}" dt="2023-11-22T04:23:47.276" v="7939" actId="478"/>
          <ac:spMkLst>
            <pc:docMk/>
            <pc:sldMk cId="555519610" sldId="2147309866"/>
            <ac:spMk id="4" creationId="{A135A2C2-AFC4-25FD-E989-93CC4C0EA95E}"/>
          </ac:spMkLst>
        </pc:spChg>
        <pc:spChg chg="mod">
          <ac:chgData name="Kau, Derchang" userId="b9148588-e694-4445-9765-2c9aad6149ce" providerId="ADAL" clId="{F798D4AA-0E14-EB43-9CA0-DC099737DEE1}" dt="2023-11-22T04:23:31.674" v="7937"/>
          <ac:spMkLst>
            <pc:docMk/>
            <pc:sldMk cId="555519610" sldId="2147309866"/>
            <ac:spMk id="6" creationId="{E9950E2B-F468-8CB8-50B3-C275C6AA1961}"/>
          </ac:spMkLst>
        </pc:spChg>
        <pc:spChg chg="mod">
          <ac:chgData name="Kau, Derchang" userId="b9148588-e694-4445-9765-2c9aad6149ce" providerId="ADAL" clId="{F798D4AA-0E14-EB43-9CA0-DC099737DEE1}" dt="2023-11-22T04:23:31.674" v="7937"/>
          <ac:spMkLst>
            <pc:docMk/>
            <pc:sldMk cId="555519610" sldId="2147309866"/>
            <ac:spMk id="7" creationId="{67EC723E-30D0-E22C-8CBA-F38571C9DA3F}"/>
          </ac:spMkLst>
        </pc:spChg>
        <pc:spChg chg="mod">
          <ac:chgData name="Kau, Derchang" userId="b9148588-e694-4445-9765-2c9aad6149ce" providerId="ADAL" clId="{F798D4AA-0E14-EB43-9CA0-DC099737DEE1}" dt="2023-11-22T04:23:31.674" v="7937"/>
          <ac:spMkLst>
            <pc:docMk/>
            <pc:sldMk cId="555519610" sldId="2147309866"/>
            <ac:spMk id="8" creationId="{7D2BB266-DD30-859A-FA2A-3348C6ADA5A9}"/>
          </ac:spMkLst>
        </pc:spChg>
        <pc:spChg chg="mod">
          <ac:chgData name="Kau, Derchang" userId="b9148588-e694-4445-9765-2c9aad6149ce" providerId="ADAL" clId="{F798D4AA-0E14-EB43-9CA0-DC099737DEE1}" dt="2023-11-22T04:23:31.674" v="7937"/>
          <ac:spMkLst>
            <pc:docMk/>
            <pc:sldMk cId="555519610" sldId="2147309866"/>
            <ac:spMk id="9" creationId="{A29661B0-65C3-558F-A7D1-DD884D1256FE}"/>
          </ac:spMkLst>
        </pc:spChg>
        <pc:spChg chg="mod">
          <ac:chgData name="Kau, Derchang" userId="b9148588-e694-4445-9765-2c9aad6149ce" providerId="ADAL" clId="{F798D4AA-0E14-EB43-9CA0-DC099737DEE1}" dt="2023-11-22T04:23:31.674" v="7937"/>
          <ac:spMkLst>
            <pc:docMk/>
            <pc:sldMk cId="555519610" sldId="2147309866"/>
            <ac:spMk id="10" creationId="{E35566B2-E9B0-34FD-469E-C0705881841F}"/>
          </ac:spMkLst>
        </pc:spChg>
        <pc:spChg chg="mod">
          <ac:chgData name="Kau, Derchang" userId="b9148588-e694-4445-9765-2c9aad6149ce" providerId="ADAL" clId="{F798D4AA-0E14-EB43-9CA0-DC099737DEE1}" dt="2023-11-22T04:23:31.674" v="7937"/>
          <ac:spMkLst>
            <pc:docMk/>
            <pc:sldMk cId="555519610" sldId="2147309866"/>
            <ac:spMk id="11" creationId="{8497AD3A-3A7F-5356-AF95-099C6167272A}"/>
          </ac:spMkLst>
        </pc:spChg>
        <pc:spChg chg="mod">
          <ac:chgData name="Kau, Derchang" userId="b9148588-e694-4445-9765-2c9aad6149ce" providerId="ADAL" clId="{F798D4AA-0E14-EB43-9CA0-DC099737DEE1}" dt="2023-11-22T04:23:31.674" v="7937"/>
          <ac:spMkLst>
            <pc:docMk/>
            <pc:sldMk cId="555519610" sldId="2147309866"/>
            <ac:spMk id="12" creationId="{7B8F4AFF-3D5C-1887-0357-D6F45A70D1FB}"/>
          </ac:spMkLst>
        </pc:spChg>
        <pc:spChg chg="mod">
          <ac:chgData name="Kau, Derchang" userId="b9148588-e694-4445-9765-2c9aad6149ce" providerId="ADAL" clId="{F798D4AA-0E14-EB43-9CA0-DC099737DEE1}" dt="2023-11-22T04:23:31.674" v="7937"/>
          <ac:spMkLst>
            <pc:docMk/>
            <pc:sldMk cId="555519610" sldId="2147309866"/>
            <ac:spMk id="20" creationId="{1ACF40D5-6DFE-7F82-630E-7D10E459B3A7}"/>
          </ac:spMkLst>
        </pc:spChg>
        <pc:spChg chg="mod">
          <ac:chgData name="Kau, Derchang" userId="b9148588-e694-4445-9765-2c9aad6149ce" providerId="ADAL" clId="{F798D4AA-0E14-EB43-9CA0-DC099737DEE1}" dt="2023-11-22T04:23:31.674" v="7937"/>
          <ac:spMkLst>
            <pc:docMk/>
            <pc:sldMk cId="555519610" sldId="2147309866"/>
            <ac:spMk id="21" creationId="{C747EDE8-238C-F527-ACDD-EF1829524387}"/>
          </ac:spMkLst>
        </pc:spChg>
        <pc:spChg chg="mod">
          <ac:chgData name="Kau, Derchang" userId="b9148588-e694-4445-9765-2c9aad6149ce" providerId="ADAL" clId="{F798D4AA-0E14-EB43-9CA0-DC099737DEE1}" dt="2023-11-22T04:23:31.674" v="7937"/>
          <ac:spMkLst>
            <pc:docMk/>
            <pc:sldMk cId="555519610" sldId="2147309866"/>
            <ac:spMk id="22" creationId="{50E28660-D970-4DBA-B88B-938D2E163E8D}"/>
          </ac:spMkLst>
        </pc:spChg>
        <pc:spChg chg="mod">
          <ac:chgData name="Kau, Derchang" userId="b9148588-e694-4445-9765-2c9aad6149ce" providerId="ADAL" clId="{F798D4AA-0E14-EB43-9CA0-DC099737DEE1}" dt="2023-11-22T04:23:31.674" v="7937"/>
          <ac:spMkLst>
            <pc:docMk/>
            <pc:sldMk cId="555519610" sldId="2147309866"/>
            <ac:spMk id="23" creationId="{5D7588E9-62DA-73AF-5989-8B595B232DD3}"/>
          </ac:spMkLst>
        </pc:spChg>
        <pc:spChg chg="mod">
          <ac:chgData name="Kau, Derchang" userId="b9148588-e694-4445-9765-2c9aad6149ce" providerId="ADAL" clId="{F798D4AA-0E14-EB43-9CA0-DC099737DEE1}" dt="2023-11-22T04:23:31.674" v="7937"/>
          <ac:spMkLst>
            <pc:docMk/>
            <pc:sldMk cId="555519610" sldId="2147309866"/>
            <ac:spMk id="24" creationId="{215B6325-447B-AA60-542E-B92CD9160E59}"/>
          </ac:spMkLst>
        </pc:spChg>
        <pc:spChg chg="mod">
          <ac:chgData name="Kau, Derchang" userId="b9148588-e694-4445-9765-2c9aad6149ce" providerId="ADAL" clId="{F798D4AA-0E14-EB43-9CA0-DC099737DEE1}" dt="2023-11-22T04:23:31.674" v="7937"/>
          <ac:spMkLst>
            <pc:docMk/>
            <pc:sldMk cId="555519610" sldId="2147309866"/>
            <ac:spMk id="25" creationId="{88432092-6A19-96C1-01C4-069B8368694F}"/>
          </ac:spMkLst>
        </pc:spChg>
        <pc:spChg chg="mod">
          <ac:chgData name="Kau, Derchang" userId="b9148588-e694-4445-9765-2c9aad6149ce" providerId="ADAL" clId="{F798D4AA-0E14-EB43-9CA0-DC099737DEE1}" dt="2023-11-22T04:23:31.674" v="7937"/>
          <ac:spMkLst>
            <pc:docMk/>
            <pc:sldMk cId="555519610" sldId="2147309866"/>
            <ac:spMk id="26" creationId="{9C601993-8BDB-FA75-0B5F-36760543A179}"/>
          </ac:spMkLst>
        </pc:spChg>
        <pc:spChg chg="mod">
          <ac:chgData name="Kau, Derchang" userId="b9148588-e694-4445-9765-2c9aad6149ce" providerId="ADAL" clId="{F798D4AA-0E14-EB43-9CA0-DC099737DEE1}" dt="2023-11-22T04:23:31.674" v="7937"/>
          <ac:spMkLst>
            <pc:docMk/>
            <pc:sldMk cId="555519610" sldId="2147309866"/>
            <ac:spMk id="31" creationId="{24EEDD78-9333-5BAD-348A-2AD620F07D82}"/>
          </ac:spMkLst>
        </pc:spChg>
        <pc:spChg chg="mod">
          <ac:chgData name="Kau, Derchang" userId="b9148588-e694-4445-9765-2c9aad6149ce" providerId="ADAL" clId="{F798D4AA-0E14-EB43-9CA0-DC099737DEE1}" dt="2023-11-22T04:23:31.674" v="7937"/>
          <ac:spMkLst>
            <pc:docMk/>
            <pc:sldMk cId="555519610" sldId="2147309866"/>
            <ac:spMk id="32" creationId="{35C0F2A3-9369-9A2B-FBAE-123503BB1209}"/>
          </ac:spMkLst>
        </pc:spChg>
        <pc:spChg chg="mod">
          <ac:chgData name="Kau, Derchang" userId="b9148588-e694-4445-9765-2c9aad6149ce" providerId="ADAL" clId="{F798D4AA-0E14-EB43-9CA0-DC099737DEE1}" dt="2023-11-22T04:23:31.674" v="7937"/>
          <ac:spMkLst>
            <pc:docMk/>
            <pc:sldMk cId="555519610" sldId="2147309866"/>
            <ac:spMk id="33" creationId="{46664582-54E0-3DCD-4E93-B08E58DFC611}"/>
          </ac:spMkLst>
        </pc:spChg>
        <pc:spChg chg="mod">
          <ac:chgData name="Kau, Derchang" userId="b9148588-e694-4445-9765-2c9aad6149ce" providerId="ADAL" clId="{F798D4AA-0E14-EB43-9CA0-DC099737DEE1}" dt="2023-11-22T04:23:31.674" v="7937"/>
          <ac:spMkLst>
            <pc:docMk/>
            <pc:sldMk cId="555519610" sldId="2147309866"/>
            <ac:spMk id="34" creationId="{83CB252C-6447-9127-4A2A-A6D9C0127E3D}"/>
          </ac:spMkLst>
        </pc:spChg>
        <pc:spChg chg="mod">
          <ac:chgData name="Kau, Derchang" userId="b9148588-e694-4445-9765-2c9aad6149ce" providerId="ADAL" clId="{F798D4AA-0E14-EB43-9CA0-DC099737DEE1}" dt="2023-11-22T04:23:31.674" v="7937"/>
          <ac:spMkLst>
            <pc:docMk/>
            <pc:sldMk cId="555519610" sldId="2147309866"/>
            <ac:spMk id="35" creationId="{89645504-DBB5-EC6F-C39F-702336801D9F}"/>
          </ac:spMkLst>
        </pc:spChg>
        <pc:spChg chg="mod">
          <ac:chgData name="Kau, Derchang" userId="b9148588-e694-4445-9765-2c9aad6149ce" providerId="ADAL" clId="{F798D4AA-0E14-EB43-9CA0-DC099737DEE1}" dt="2023-11-22T04:23:31.674" v="7937"/>
          <ac:spMkLst>
            <pc:docMk/>
            <pc:sldMk cId="555519610" sldId="2147309866"/>
            <ac:spMk id="36" creationId="{6862795F-AC5C-1105-DFB3-EA3C88A83BD4}"/>
          </ac:spMkLst>
        </pc:spChg>
        <pc:spChg chg="mod">
          <ac:chgData name="Kau, Derchang" userId="b9148588-e694-4445-9765-2c9aad6149ce" providerId="ADAL" clId="{F798D4AA-0E14-EB43-9CA0-DC099737DEE1}" dt="2023-11-22T04:23:31.674" v="7937"/>
          <ac:spMkLst>
            <pc:docMk/>
            <pc:sldMk cId="555519610" sldId="2147309866"/>
            <ac:spMk id="37" creationId="{ACE4A5B0-4A66-B5A7-AE60-7204F44B24D9}"/>
          </ac:spMkLst>
        </pc:spChg>
        <pc:spChg chg="mod">
          <ac:chgData name="Kau, Derchang" userId="b9148588-e694-4445-9765-2c9aad6149ce" providerId="ADAL" clId="{F798D4AA-0E14-EB43-9CA0-DC099737DEE1}" dt="2023-11-22T04:23:31.674" v="7937"/>
          <ac:spMkLst>
            <pc:docMk/>
            <pc:sldMk cId="555519610" sldId="2147309866"/>
            <ac:spMk id="42" creationId="{6355ED9E-7DB9-ED93-E330-E00FF155969B}"/>
          </ac:spMkLst>
        </pc:spChg>
        <pc:spChg chg="mod">
          <ac:chgData name="Kau, Derchang" userId="b9148588-e694-4445-9765-2c9aad6149ce" providerId="ADAL" clId="{F798D4AA-0E14-EB43-9CA0-DC099737DEE1}" dt="2023-11-22T04:23:31.674" v="7937"/>
          <ac:spMkLst>
            <pc:docMk/>
            <pc:sldMk cId="555519610" sldId="2147309866"/>
            <ac:spMk id="43" creationId="{CDF09C2B-E4F8-94A0-31FA-4788D8932099}"/>
          </ac:spMkLst>
        </pc:spChg>
        <pc:spChg chg="mod">
          <ac:chgData name="Kau, Derchang" userId="b9148588-e694-4445-9765-2c9aad6149ce" providerId="ADAL" clId="{F798D4AA-0E14-EB43-9CA0-DC099737DEE1}" dt="2023-11-22T04:23:31.674" v="7937"/>
          <ac:spMkLst>
            <pc:docMk/>
            <pc:sldMk cId="555519610" sldId="2147309866"/>
            <ac:spMk id="44" creationId="{CF160B58-F6FA-BA8D-E715-A1394C971770}"/>
          </ac:spMkLst>
        </pc:spChg>
        <pc:spChg chg="mod">
          <ac:chgData name="Kau, Derchang" userId="b9148588-e694-4445-9765-2c9aad6149ce" providerId="ADAL" clId="{F798D4AA-0E14-EB43-9CA0-DC099737DEE1}" dt="2023-11-22T04:23:31.674" v="7937"/>
          <ac:spMkLst>
            <pc:docMk/>
            <pc:sldMk cId="555519610" sldId="2147309866"/>
            <ac:spMk id="45" creationId="{B320523A-D350-789D-E19F-2DDA73CB3BB1}"/>
          </ac:spMkLst>
        </pc:spChg>
        <pc:spChg chg="mod">
          <ac:chgData name="Kau, Derchang" userId="b9148588-e694-4445-9765-2c9aad6149ce" providerId="ADAL" clId="{F798D4AA-0E14-EB43-9CA0-DC099737DEE1}" dt="2023-11-22T04:23:31.674" v="7937"/>
          <ac:spMkLst>
            <pc:docMk/>
            <pc:sldMk cId="555519610" sldId="2147309866"/>
            <ac:spMk id="46" creationId="{53F2E66D-72C5-14F1-05F3-90C943375306}"/>
          </ac:spMkLst>
        </pc:spChg>
        <pc:spChg chg="mod">
          <ac:chgData name="Kau, Derchang" userId="b9148588-e694-4445-9765-2c9aad6149ce" providerId="ADAL" clId="{F798D4AA-0E14-EB43-9CA0-DC099737DEE1}" dt="2023-11-22T04:23:31.674" v="7937"/>
          <ac:spMkLst>
            <pc:docMk/>
            <pc:sldMk cId="555519610" sldId="2147309866"/>
            <ac:spMk id="47" creationId="{6CC6BA68-462E-D02E-A177-1CB93DC400CA}"/>
          </ac:spMkLst>
        </pc:spChg>
        <pc:spChg chg="mod">
          <ac:chgData name="Kau, Derchang" userId="b9148588-e694-4445-9765-2c9aad6149ce" providerId="ADAL" clId="{F798D4AA-0E14-EB43-9CA0-DC099737DEE1}" dt="2023-11-22T04:23:31.674" v="7937"/>
          <ac:spMkLst>
            <pc:docMk/>
            <pc:sldMk cId="555519610" sldId="2147309866"/>
            <ac:spMk id="48" creationId="{E08551A5-D7C8-AE1B-A867-65B8A4D8282D}"/>
          </ac:spMkLst>
        </pc:spChg>
        <pc:spChg chg="mod">
          <ac:chgData name="Kau, Derchang" userId="b9148588-e694-4445-9765-2c9aad6149ce" providerId="ADAL" clId="{F798D4AA-0E14-EB43-9CA0-DC099737DEE1}" dt="2023-11-22T04:23:31.674" v="7937"/>
          <ac:spMkLst>
            <pc:docMk/>
            <pc:sldMk cId="555519610" sldId="2147309866"/>
            <ac:spMk id="52" creationId="{90AACA60-8766-A8F9-A830-EFE708A22830}"/>
          </ac:spMkLst>
        </pc:spChg>
        <pc:spChg chg="mod">
          <ac:chgData name="Kau, Derchang" userId="b9148588-e694-4445-9765-2c9aad6149ce" providerId="ADAL" clId="{F798D4AA-0E14-EB43-9CA0-DC099737DEE1}" dt="2023-11-22T04:23:31.674" v="7937"/>
          <ac:spMkLst>
            <pc:docMk/>
            <pc:sldMk cId="555519610" sldId="2147309866"/>
            <ac:spMk id="53" creationId="{B004F24A-8FEA-DFC7-C5F3-3ABDBC83F58A}"/>
          </ac:spMkLst>
        </pc:spChg>
        <pc:spChg chg="mod">
          <ac:chgData name="Kau, Derchang" userId="b9148588-e694-4445-9765-2c9aad6149ce" providerId="ADAL" clId="{F798D4AA-0E14-EB43-9CA0-DC099737DEE1}" dt="2023-11-22T04:23:31.674" v="7937"/>
          <ac:spMkLst>
            <pc:docMk/>
            <pc:sldMk cId="555519610" sldId="2147309866"/>
            <ac:spMk id="54" creationId="{AB23E481-FDD3-5C0E-1DD0-2D17AD56B4AF}"/>
          </ac:spMkLst>
        </pc:spChg>
        <pc:spChg chg="mod">
          <ac:chgData name="Kau, Derchang" userId="b9148588-e694-4445-9765-2c9aad6149ce" providerId="ADAL" clId="{F798D4AA-0E14-EB43-9CA0-DC099737DEE1}" dt="2023-11-22T04:23:31.674" v="7937"/>
          <ac:spMkLst>
            <pc:docMk/>
            <pc:sldMk cId="555519610" sldId="2147309866"/>
            <ac:spMk id="55" creationId="{EDBF7D66-848D-41D7-EA19-C628336BC8FC}"/>
          </ac:spMkLst>
        </pc:spChg>
        <pc:spChg chg="mod">
          <ac:chgData name="Kau, Derchang" userId="b9148588-e694-4445-9765-2c9aad6149ce" providerId="ADAL" clId="{F798D4AA-0E14-EB43-9CA0-DC099737DEE1}" dt="2023-11-22T04:23:31.674" v="7937"/>
          <ac:spMkLst>
            <pc:docMk/>
            <pc:sldMk cId="555519610" sldId="2147309866"/>
            <ac:spMk id="56" creationId="{78C845E1-B686-B4DC-1BC9-4C2C2592A165}"/>
          </ac:spMkLst>
        </pc:spChg>
        <pc:spChg chg="mod">
          <ac:chgData name="Kau, Derchang" userId="b9148588-e694-4445-9765-2c9aad6149ce" providerId="ADAL" clId="{F798D4AA-0E14-EB43-9CA0-DC099737DEE1}" dt="2023-11-22T04:23:31.674" v="7937"/>
          <ac:spMkLst>
            <pc:docMk/>
            <pc:sldMk cId="555519610" sldId="2147309866"/>
            <ac:spMk id="57" creationId="{4F09D440-3BBD-3766-FE3B-B4D1670A35B1}"/>
          </ac:spMkLst>
        </pc:spChg>
        <pc:spChg chg="mod">
          <ac:chgData name="Kau, Derchang" userId="b9148588-e694-4445-9765-2c9aad6149ce" providerId="ADAL" clId="{F798D4AA-0E14-EB43-9CA0-DC099737DEE1}" dt="2023-11-22T04:23:31.674" v="7937"/>
          <ac:spMkLst>
            <pc:docMk/>
            <pc:sldMk cId="555519610" sldId="2147309866"/>
            <ac:spMk id="58" creationId="{6449490B-AA64-3B8E-47D5-200E0724D8EF}"/>
          </ac:spMkLst>
        </pc:spChg>
        <pc:spChg chg="mod">
          <ac:chgData name="Kau, Derchang" userId="b9148588-e694-4445-9765-2c9aad6149ce" providerId="ADAL" clId="{F798D4AA-0E14-EB43-9CA0-DC099737DEE1}" dt="2023-11-22T04:23:31.674" v="7937"/>
          <ac:spMkLst>
            <pc:docMk/>
            <pc:sldMk cId="555519610" sldId="2147309866"/>
            <ac:spMk id="62" creationId="{8DB6EC84-0991-51C1-222E-FD4A4872E5AD}"/>
          </ac:spMkLst>
        </pc:spChg>
        <pc:spChg chg="mod">
          <ac:chgData name="Kau, Derchang" userId="b9148588-e694-4445-9765-2c9aad6149ce" providerId="ADAL" clId="{F798D4AA-0E14-EB43-9CA0-DC099737DEE1}" dt="2023-11-22T04:23:31.674" v="7937"/>
          <ac:spMkLst>
            <pc:docMk/>
            <pc:sldMk cId="555519610" sldId="2147309866"/>
            <ac:spMk id="63" creationId="{4BAFD141-B834-1D85-7221-372572DE5D1C}"/>
          </ac:spMkLst>
        </pc:spChg>
        <pc:spChg chg="mod">
          <ac:chgData name="Kau, Derchang" userId="b9148588-e694-4445-9765-2c9aad6149ce" providerId="ADAL" clId="{F798D4AA-0E14-EB43-9CA0-DC099737DEE1}" dt="2023-11-22T04:23:31.674" v="7937"/>
          <ac:spMkLst>
            <pc:docMk/>
            <pc:sldMk cId="555519610" sldId="2147309866"/>
            <ac:spMk id="64" creationId="{2537FB8F-B068-8200-8AEF-4D22FE4A0D72}"/>
          </ac:spMkLst>
        </pc:spChg>
        <pc:spChg chg="mod">
          <ac:chgData name="Kau, Derchang" userId="b9148588-e694-4445-9765-2c9aad6149ce" providerId="ADAL" clId="{F798D4AA-0E14-EB43-9CA0-DC099737DEE1}" dt="2023-11-22T04:23:31.674" v="7937"/>
          <ac:spMkLst>
            <pc:docMk/>
            <pc:sldMk cId="555519610" sldId="2147309866"/>
            <ac:spMk id="65" creationId="{E176BEE0-3010-85B6-592D-A55F17794FB5}"/>
          </ac:spMkLst>
        </pc:spChg>
        <pc:spChg chg="mod">
          <ac:chgData name="Kau, Derchang" userId="b9148588-e694-4445-9765-2c9aad6149ce" providerId="ADAL" clId="{F798D4AA-0E14-EB43-9CA0-DC099737DEE1}" dt="2023-11-22T04:23:31.674" v="7937"/>
          <ac:spMkLst>
            <pc:docMk/>
            <pc:sldMk cId="555519610" sldId="2147309866"/>
            <ac:spMk id="66" creationId="{7D3D8B4B-156D-CC85-562E-292EB7C8F03C}"/>
          </ac:spMkLst>
        </pc:spChg>
        <pc:spChg chg="mod">
          <ac:chgData name="Kau, Derchang" userId="b9148588-e694-4445-9765-2c9aad6149ce" providerId="ADAL" clId="{F798D4AA-0E14-EB43-9CA0-DC099737DEE1}" dt="2023-11-22T04:23:31.674" v="7937"/>
          <ac:spMkLst>
            <pc:docMk/>
            <pc:sldMk cId="555519610" sldId="2147309866"/>
            <ac:spMk id="70" creationId="{4C4644C7-8537-7367-6DFA-B08020B58194}"/>
          </ac:spMkLst>
        </pc:spChg>
        <pc:spChg chg="mod">
          <ac:chgData name="Kau, Derchang" userId="b9148588-e694-4445-9765-2c9aad6149ce" providerId="ADAL" clId="{F798D4AA-0E14-EB43-9CA0-DC099737DEE1}" dt="2023-11-22T04:23:31.674" v="7937"/>
          <ac:spMkLst>
            <pc:docMk/>
            <pc:sldMk cId="555519610" sldId="2147309866"/>
            <ac:spMk id="71" creationId="{0C979FDF-CF54-3F01-5764-877EE981EE00}"/>
          </ac:spMkLst>
        </pc:spChg>
        <pc:spChg chg="mod">
          <ac:chgData name="Kau, Derchang" userId="b9148588-e694-4445-9765-2c9aad6149ce" providerId="ADAL" clId="{F798D4AA-0E14-EB43-9CA0-DC099737DEE1}" dt="2023-11-22T04:23:31.674" v="7937"/>
          <ac:spMkLst>
            <pc:docMk/>
            <pc:sldMk cId="555519610" sldId="2147309866"/>
            <ac:spMk id="72" creationId="{97602A35-D691-EBC3-BDFC-726CD2502FC3}"/>
          </ac:spMkLst>
        </pc:spChg>
        <pc:spChg chg="mod">
          <ac:chgData name="Kau, Derchang" userId="b9148588-e694-4445-9765-2c9aad6149ce" providerId="ADAL" clId="{F798D4AA-0E14-EB43-9CA0-DC099737DEE1}" dt="2023-11-22T04:23:31.674" v="7937"/>
          <ac:spMkLst>
            <pc:docMk/>
            <pc:sldMk cId="555519610" sldId="2147309866"/>
            <ac:spMk id="73" creationId="{46DFA4A8-4849-E985-1FA7-B6685C524386}"/>
          </ac:spMkLst>
        </pc:spChg>
        <pc:grpChg chg="add mod">
          <ac:chgData name="Kau, Derchang" userId="b9148588-e694-4445-9765-2c9aad6149ce" providerId="ADAL" clId="{F798D4AA-0E14-EB43-9CA0-DC099737DEE1}" dt="2023-11-22T04:23:31.674" v="7937"/>
          <ac:grpSpMkLst>
            <pc:docMk/>
            <pc:sldMk cId="555519610" sldId="2147309866"/>
            <ac:grpSpMk id="5" creationId="{91051C9F-F980-7DF8-81F4-68FEE9240ED8}"/>
          </ac:grpSpMkLst>
        </pc:grpChg>
        <pc:grpChg chg="add mod">
          <ac:chgData name="Kau, Derchang" userId="b9148588-e694-4445-9765-2c9aad6149ce" providerId="ADAL" clId="{F798D4AA-0E14-EB43-9CA0-DC099737DEE1}" dt="2023-11-22T04:23:31.674" v="7937"/>
          <ac:grpSpMkLst>
            <pc:docMk/>
            <pc:sldMk cId="555519610" sldId="2147309866"/>
            <ac:grpSpMk id="13" creationId="{88F3DE80-0EDB-3EBA-6DA2-DE1F57FC9D6F}"/>
          </ac:grpSpMkLst>
        </pc:grpChg>
        <pc:grpChg chg="mod">
          <ac:chgData name="Kau, Derchang" userId="b9148588-e694-4445-9765-2c9aad6149ce" providerId="ADAL" clId="{F798D4AA-0E14-EB43-9CA0-DC099737DEE1}" dt="2023-11-22T04:23:31.674" v="7937"/>
          <ac:grpSpMkLst>
            <pc:docMk/>
            <pc:sldMk cId="555519610" sldId="2147309866"/>
            <ac:grpSpMk id="14" creationId="{DC20991C-9686-D86C-0F8D-9426131E232C}"/>
          </ac:grpSpMkLst>
        </pc:grpChg>
        <pc:grpChg chg="mod">
          <ac:chgData name="Kau, Derchang" userId="b9148588-e694-4445-9765-2c9aad6149ce" providerId="ADAL" clId="{F798D4AA-0E14-EB43-9CA0-DC099737DEE1}" dt="2023-11-22T04:23:31.674" v="7937"/>
          <ac:grpSpMkLst>
            <pc:docMk/>
            <pc:sldMk cId="555519610" sldId="2147309866"/>
            <ac:grpSpMk id="16" creationId="{E50A33A5-E90F-6CE6-F956-5CC33C6CD7B6}"/>
          </ac:grpSpMkLst>
        </pc:grpChg>
        <pc:grpChg chg="mod">
          <ac:chgData name="Kau, Derchang" userId="b9148588-e694-4445-9765-2c9aad6149ce" providerId="ADAL" clId="{F798D4AA-0E14-EB43-9CA0-DC099737DEE1}" dt="2023-11-22T04:23:31.674" v="7937"/>
          <ac:grpSpMkLst>
            <pc:docMk/>
            <pc:sldMk cId="555519610" sldId="2147309866"/>
            <ac:grpSpMk id="17" creationId="{7D66B095-003A-3E63-56D0-29652932C7CE}"/>
          </ac:grpSpMkLst>
        </pc:grpChg>
        <pc:grpChg chg="add mod">
          <ac:chgData name="Kau, Derchang" userId="b9148588-e694-4445-9765-2c9aad6149ce" providerId="ADAL" clId="{F798D4AA-0E14-EB43-9CA0-DC099737DEE1}" dt="2023-11-22T04:23:31.674" v="7937"/>
          <ac:grpSpMkLst>
            <pc:docMk/>
            <pc:sldMk cId="555519610" sldId="2147309866"/>
            <ac:grpSpMk id="27" creationId="{F1CC9F2A-8260-11F9-88A1-51B724DA4F28}"/>
          </ac:grpSpMkLst>
        </pc:grpChg>
        <pc:grpChg chg="mod">
          <ac:chgData name="Kau, Derchang" userId="b9148588-e694-4445-9765-2c9aad6149ce" providerId="ADAL" clId="{F798D4AA-0E14-EB43-9CA0-DC099737DEE1}" dt="2023-11-22T04:23:31.674" v="7937"/>
          <ac:grpSpMkLst>
            <pc:docMk/>
            <pc:sldMk cId="555519610" sldId="2147309866"/>
            <ac:grpSpMk id="28" creationId="{16E01449-5CA1-A514-46DE-5FDADADF94B4}"/>
          </ac:grpSpMkLst>
        </pc:grpChg>
        <pc:grpChg chg="add mod">
          <ac:chgData name="Kau, Derchang" userId="b9148588-e694-4445-9765-2c9aad6149ce" providerId="ADAL" clId="{F798D4AA-0E14-EB43-9CA0-DC099737DEE1}" dt="2023-11-22T04:23:31.674" v="7937"/>
          <ac:grpSpMkLst>
            <pc:docMk/>
            <pc:sldMk cId="555519610" sldId="2147309866"/>
            <ac:grpSpMk id="38" creationId="{CA1AA669-3B0B-ECE3-B4E4-6038E4470501}"/>
          </ac:grpSpMkLst>
        </pc:grpChg>
        <pc:grpChg chg="mod">
          <ac:chgData name="Kau, Derchang" userId="b9148588-e694-4445-9765-2c9aad6149ce" providerId="ADAL" clId="{F798D4AA-0E14-EB43-9CA0-DC099737DEE1}" dt="2023-11-22T04:23:31.674" v="7937"/>
          <ac:grpSpMkLst>
            <pc:docMk/>
            <pc:sldMk cId="555519610" sldId="2147309866"/>
            <ac:grpSpMk id="39" creationId="{EB4A017E-971B-F5C6-49AD-E2CEB66BD70C}"/>
          </ac:grpSpMkLst>
        </pc:grpChg>
        <pc:grpChg chg="add mod">
          <ac:chgData name="Kau, Derchang" userId="b9148588-e694-4445-9765-2c9aad6149ce" providerId="ADAL" clId="{F798D4AA-0E14-EB43-9CA0-DC099737DEE1}" dt="2023-11-22T04:23:31.674" v="7937"/>
          <ac:grpSpMkLst>
            <pc:docMk/>
            <pc:sldMk cId="555519610" sldId="2147309866"/>
            <ac:grpSpMk id="49" creationId="{B18528AF-112A-2FF3-1A12-F411DF7285EE}"/>
          </ac:grpSpMkLst>
        </pc:grpChg>
        <pc:grpChg chg="mod">
          <ac:chgData name="Kau, Derchang" userId="b9148588-e694-4445-9765-2c9aad6149ce" providerId="ADAL" clId="{F798D4AA-0E14-EB43-9CA0-DC099737DEE1}" dt="2023-11-22T04:23:31.674" v="7937"/>
          <ac:grpSpMkLst>
            <pc:docMk/>
            <pc:sldMk cId="555519610" sldId="2147309866"/>
            <ac:grpSpMk id="50" creationId="{01183D49-346A-9B05-74B6-6C3F8300AC32}"/>
          </ac:grpSpMkLst>
        </pc:grpChg>
        <pc:grpChg chg="add mod">
          <ac:chgData name="Kau, Derchang" userId="b9148588-e694-4445-9765-2c9aad6149ce" providerId="ADAL" clId="{F798D4AA-0E14-EB43-9CA0-DC099737DEE1}" dt="2023-11-22T04:23:31.674" v="7937"/>
          <ac:grpSpMkLst>
            <pc:docMk/>
            <pc:sldMk cId="555519610" sldId="2147309866"/>
            <ac:grpSpMk id="59" creationId="{2D209822-F3BB-8025-0EC6-48A1A2739381}"/>
          </ac:grpSpMkLst>
        </pc:grpChg>
        <pc:grpChg chg="mod">
          <ac:chgData name="Kau, Derchang" userId="b9148588-e694-4445-9765-2c9aad6149ce" providerId="ADAL" clId="{F798D4AA-0E14-EB43-9CA0-DC099737DEE1}" dt="2023-11-22T04:23:31.674" v="7937"/>
          <ac:grpSpMkLst>
            <pc:docMk/>
            <pc:sldMk cId="555519610" sldId="2147309866"/>
            <ac:grpSpMk id="60" creationId="{49863016-45DC-D527-4F36-9A6B191F2D79}"/>
          </ac:grpSpMkLst>
        </pc:grpChg>
        <pc:grpChg chg="add mod">
          <ac:chgData name="Kau, Derchang" userId="b9148588-e694-4445-9765-2c9aad6149ce" providerId="ADAL" clId="{F798D4AA-0E14-EB43-9CA0-DC099737DEE1}" dt="2023-11-22T04:23:31.674" v="7937"/>
          <ac:grpSpMkLst>
            <pc:docMk/>
            <pc:sldMk cId="555519610" sldId="2147309866"/>
            <ac:grpSpMk id="67" creationId="{A0A916BD-2825-86BF-ECCE-7D7A256A4F77}"/>
          </ac:grpSpMkLst>
        </pc:grpChg>
        <pc:grpChg chg="mod">
          <ac:chgData name="Kau, Derchang" userId="b9148588-e694-4445-9765-2c9aad6149ce" providerId="ADAL" clId="{F798D4AA-0E14-EB43-9CA0-DC099737DEE1}" dt="2023-11-22T04:23:31.674" v="7937"/>
          <ac:grpSpMkLst>
            <pc:docMk/>
            <pc:sldMk cId="555519610" sldId="2147309866"/>
            <ac:grpSpMk id="68" creationId="{22131221-DE3F-163F-898E-8690F53B81E5}"/>
          </ac:grpSpMkLst>
        </pc:grpChg>
        <pc:picChg chg="mod">
          <ac:chgData name="Kau, Derchang" userId="b9148588-e694-4445-9765-2c9aad6149ce" providerId="ADAL" clId="{F798D4AA-0E14-EB43-9CA0-DC099737DEE1}" dt="2023-11-22T04:23:31.674" v="7937"/>
          <ac:picMkLst>
            <pc:docMk/>
            <pc:sldMk cId="555519610" sldId="2147309866"/>
            <ac:picMk id="15" creationId="{8926D6E9-2764-6245-3CA6-0EDD6A6B3340}"/>
          </ac:picMkLst>
        </pc:picChg>
        <pc:picChg chg="mod">
          <ac:chgData name="Kau, Derchang" userId="b9148588-e694-4445-9765-2c9aad6149ce" providerId="ADAL" clId="{F798D4AA-0E14-EB43-9CA0-DC099737DEE1}" dt="2023-11-22T04:23:31.674" v="7937"/>
          <ac:picMkLst>
            <pc:docMk/>
            <pc:sldMk cId="555519610" sldId="2147309866"/>
            <ac:picMk id="18" creationId="{1334ABCE-A33A-801E-78CC-B4B7AAD81492}"/>
          </ac:picMkLst>
        </pc:picChg>
        <pc:picChg chg="mod">
          <ac:chgData name="Kau, Derchang" userId="b9148588-e694-4445-9765-2c9aad6149ce" providerId="ADAL" clId="{F798D4AA-0E14-EB43-9CA0-DC099737DEE1}" dt="2023-11-22T04:23:31.674" v="7937"/>
          <ac:picMkLst>
            <pc:docMk/>
            <pc:sldMk cId="555519610" sldId="2147309866"/>
            <ac:picMk id="19" creationId="{0D2E7157-536A-6FC5-1B6D-92F75CFA7A6D}"/>
          </ac:picMkLst>
        </pc:picChg>
        <pc:picChg chg="mod">
          <ac:chgData name="Kau, Derchang" userId="b9148588-e694-4445-9765-2c9aad6149ce" providerId="ADAL" clId="{F798D4AA-0E14-EB43-9CA0-DC099737DEE1}" dt="2023-11-22T04:23:31.674" v="7937"/>
          <ac:picMkLst>
            <pc:docMk/>
            <pc:sldMk cId="555519610" sldId="2147309866"/>
            <ac:picMk id="29" creationId="{164311B9-48F0-DBE2-D76F-274DC52A1A8D}"/>
          </ac:picMkLst>
        </pc:picChg>
        <pc:picChg chg="mod">
          <ac:chgData name="Kau, Derchang" userId="b9148588-e694-4445-9765-2c9aad6149ce" providerId="ADAL" clId="{F798D4AA-0E14-EB43-9CA0-DC099737DEE1}" dt="2023-11-22T04:23:31.674" v="7937"/>
          <ac:picMkLst>
            <pc:docMk/>
            <pc:sldMk cId="555519610" sldId="2147309866"/>
            <ac:picMk id="30" creationId="{E6103E5A-93D2-D3B7-4BEA-D8F63FCCA1E2}"/>
          </ac:picMkLst>
        </pc:picChg>
        <pc:picChg chg="mod">
          <ac:chgData name="Kau, Derchang" userId="b9148588-e694-4445-9765-2c9aad6149ce" providerId="ADAL" clId="{F798D4AA-0E14-EB43-9CA0-DC099737DEE1}" dt="2023-11-22T04:23:31.674" v="7937"/>
          <ac:picMkLst>
            <pc:docMk/>
            <pc:sldMk cId="555519610" sldId="2147309866"/>
            <ac:picMk id="40" creationId="{1896E4F1-A88E-BFC8-E8F3-B783B0F4CDE5}"/>
          </ac:picMkLst>
        </pc:picChg>
        <pc:picChg chg="mod">
          <ac:chgData name="Kau, Derchang" userId="b9148588-e694-4445-9765-2c9aad6149ce" providerId="ADAL" clId="{F798D4AA-0E14-EB43-9CA0-DC099737DEE1}" dt="2023-11-22T04:23:31.674" v="7937"/>
          <ac:picMkLst>
            <pc:docMk/>
            <pc:sldMk cId="555519610" sldId="2147309866"/>
            <ac:picMk id="41" creationId="{F9602ABC-8D96-380A-7106-939684468208}"/>
          </ac:picMkLst>
        </pc:picChg>
        <pc:picChg chg="mod">
          <ac:chgData name="Kau, Derchang" userId="b9148588-e694-4445-9765-2c9aad6149ce" providerId="ADAL" clId="{F798D4AA-0E14-EB43-9CA0-DC099737DEE1}" dt="2023-11-22T04:23:31.674" v="7937"/>
          <ac:picMkLst>
            <pc:docMk/>
            <pc:sldMk cId="555519610" sldId="2147309866"/>
            <ac:picMk id="51" creationId="{04D48831-8AD8-5F20-1120-C579841F83E4}"/>
          </ac:picMkLst>
        </pc:picChg>
        <pc:picChg chg="mod">
          <ac:chgData name="Kau, Derchang" userId="b9148588-e694-4445-9765-2c9aad6149ce" providerId="ADAL" clId="{F798D4AA-0E14-EB43-9CA0-DC099737DEE1}" dt="2023-11-22T04:23:31.674" v="7937"/>
          <ac:picMkLst>
            <pc:docMk/>
            <pc:sldMk cId="555519610" sldId="2147309866"/>
            <ac:picMk id="61" creationId="{712B56A8-53CA-F790-B49F-7781380CD7F1}"/>
          </ac:picMkLst>
        </pc:picChg>
        <pc:picChg chg="mod">
          <ac:chgData name="Kau, Derchang" userId="b9148588-e694-4445-9765-2c9aad6149ce" providerId="ADAL" clId="{F798D4AA-0E14-EB43-9CA0-DC099737DEE1}" dt="2023-11-22T04:23:31.674" v="7937"/>
          <ac:picMkLst>
            <pc:docMk/>
            <pc:sldMk cId="555519610" sldId="2147309866"/>
            <ac:picMk id="69" creationId="{EB8B6001-D6FD-F8B7-E14F-675697605883}"/>
          </ac:picMkLst>
        </pc:picChg>
        <pc:picChg chg="add mod">
          <ac:chgData name="Kau, Derchang" userId="b9148588-e694-4445-9765-2c9aad6149ce" providerId="ADAL" clId="{F798D4AA-0E14-EB43-9CA0-DC099737DEE1}" dt="2023-11-22T04:23:31.674" v="7937"/>
          <ac:picMkLst>
            <pc:docMk/>
            <pc:sldMk cId="555519610" sldId="2147309866"/>
            <ac:picMk id="74" creationId="{BCBE5645-28A8-222D-891B-E2DDEA1ACBC1}"/>
          </ac:picMkLst>
        </pc:picChg>
        <pc:picChg chg="add mod">
          <ac:chgData name="Kau, Derchang" userId="b9148588-e694-4445-9765-2c9aad6149ce" providerId="ADAL" clId="{F798D4AA-0E14-EB43-9CA0-DC099737DEE1}" dt="2023-11-22T04:23:31.674" v="7937"/>
          <ac:picMkLst>
            <pc:docMk/>
            <pc:sldMk cId="555519610" sldId="2147309866"/>
            <ac:picMk id="75" creationId="{A1107B53-9E14-CF41-A541-A5C98FBE6875}"/>
          </ac:picMkLst>
        </pc:picChg>
        <pc:picChg chg="add mod">
          <ac:chgData name="Kau, Derchang" userId="b9148588-e694-4445-9765-2c9aad6149ce" providerId="ADAL" clId="{F798D4AA-0E14-EB43-9CA0-DC099737DEE1}" dt="2023-11-22T04:24:12.868" v="7942" actId="1076"/>
          <ac:picMkLst>
            <pc:docMk/>
            <pc:sldMk cId="555519610" sldId="2147309866"/>
            <ac:picMk id="76" creationId="{9F702255-2F09-DB98-A270-831609D1DBD3}"/>
          </ac:picMkLst>
        </pc:picChg>
      </pc:sldChg>
      <pc:sldChg chg="addSp delSp modSp new mod modClrScheme chgLayout">
        <pc:chgData name="Kau, Derchang" userId="b9148588-e694-4445-9765-2c9aad6149ce" providerId="ADAL" clId="{F798D4AA-0E14-EB43-9CA0-DC099737DEE1}" dt="2023-11-26T20:40:01.987" v="8220" actId="1076"/>
        <pc:sldMkLst>
          <pc:docMk/>
          <pc:sldMk cId="1719412568" sldId="2147309867"/>
        </pc:sldMkLst>
        <pc:spChg chg="del">
          <ac:chgData name="Kau, Derchang" userId="b9148588-e694-4445-9765-2c9aad6149ce" providerId="ADAL" clId="{F798D4AA-0E14-EB43-9CA0-DC099737DEE1}" dt="2023-11-26T20:39:47.748" v="8216" actId="700"/>
          <ac:spMkLst>
            <pc:docMk/>
            <pc:sldMk cId="1719412568" sldId="2147309867"/>
            <ac:spMk id="2" creationId="{2F858FD4-D043-3200-689A-5497A8BE19E9}"/>
          </ac:spMkLst>
        </pc:spChg>
        <pc:spChg chg="del">
          <ac:chgData name="Kau, Derchang" userId="b9148588-e694-4445-9765-2c9aad6149ce" providerId="ADAL" clId="{F798D4AA-0E14-EB43-9CA0-DC099737DEE1}" dt="2023-11-26T20:39:47.748" v="8216" actId="700"/>
          <ac:spMkLst>
            <pc:docMk/>
            <pc:sldMk cId="1719412568" sldId="2147309867"/>
            <ac:spMk id="3" creationId="{15939A72-A3B4-DA01-55ED-4E0432D00C09}"/>
          </ac:spMkLst>
        </pc:spChg>
        <pc:spChg chg="del">
          <ac:chgData name="Kau, Derchang" userId="b9148588-e694-4445-9765-2c9aad6149ce" providerId="ADAL" clId="{F798D4AA-0E14-EB43-9CA0-DC099737DEE1}" dt="2023-11-26T20:39:47.748" v="8216" actId="700"/>
          <ac:spMkLst>
            <pc:docMk/>
            <pc:sldMk cId="1719412568" sldId="2147309867"/>
            <ac:spMk id="4" creationId="{BC3D8D62-710C-F991-F02E-C0F97D3FD405}"/>
          </ac:spMkLst>
        </pc:spChg>
        <pc:spChg chg="del">
          <ac:chgData name="Kau, Derchang" userId="b9148588-e694-4445-9765-2c9aad6149ce" providerId="ADAL" clId="{F798D4AA-0E14-EB43-9CA0-DC099737DEE1}" dt="2023-11-26T20:39:47.748" v="8216" actId="700"/>
          <ac:spMkLst>
            <pc:docMk/>
            <pc:sldMk cId="1719412568" sldId="2147309867"/>
            <ac:spMk id="5" creationId="{543D5E0C-8ACE-71C7-53F6-80819C60D6EA}"/>
          </ac:spMkLst>
        </pc:spChg>
        <pc:spChg chg="del">
          <ac:chgData name="Kau, Derchang" userId="b9148588-e694-4445-9765-2c9aad6149ce" providerId="ADAL" clId="{F798D4AA-0E14-EB43-9CA0-DC099737DEE1}" dt="2023-11-26T20:39:47.748" v="8216" actId="700"/>
          <ac:spMkLst>
            <pc:docMk/>
            <pc:sldMk cId="1719412568" sldId="2147309867"/>
            <ac:spMk id="6" creationId="{C31C382E-B682-7D33-96E1-4C45D3452909}"/>
          </ac:spMkLst>
        </pc:spChg>
        <pc:spChg chg="del">
          <ac:chgData name="Kau, Derchang" userId="b9148588-e694-4445-9765-2c9aad6149ce" providerId="ADAL" clId="{F798D4AA-0E14-EB43-9CA0-DC099737DEE1}" dt="2023-11-26T20:39:47.748" v="8216" actId="700"/>
          <ac:spMkLst>
            <pc:docMk/>
            <pc:sldMk cId="1719412568" sldId="2147309867"/>
            <ac:spMk id="7" creationId="{3B926083-AAF4-EA52-04BE-5159E7D5EBBF}"/>
          </ac:spMkLst>
        </pc:spChg>
        <pc:spChg chg="del">
          <ac:chgData name="Kau, Derchang" userId="b9148588-e694-4445-9765-2c9aad6149ce" providerId="ADAL" clId="{F798D4AA-0E14-EB43-9CA0-DC099737DEE1}" dt="2023-11-26T20:39:47.748" v="8216" actId="700"/>
          <ac:spMkLst>
            <pc:docMk/>
            <pc:sldMk cId="1719412568" sldId="2147309867"/>
            <ac:spMk id="8" creationId="{5B72D8F9-C0E9-3E1F-9209-81E6BEB20630}"/>
          </ac:spMkLst>
        </pc:spChg>
        <pc:picChg chg="add mod">
          <ac:chgData name="Kau, Derchang" userId="b9148588-e694-4445-9765-2c9aad6149ce" providerId="ADAL" clId="{F798D4AA-0E14-EB43-9CA0-DC099737DEE1}" dt="2023-11-26T20:40:01.987" v="8220" actId="1076"/>
          <ac:picMkLst>
            <pc:docMk/>
            <pc:sldMk cId="1719412568" sldId="2147309867"/>
            <ac:picMk id="9" creationId="{DBE3CE8F-20AF-2971-B42F-264CDBBF4901}"/>
          </ac:picMkLst>
        </pc:picChg>
      </pc:sldChg>
      <pc:sldChg chg="addSp delSp modSp new mod ord">
        <pc:chgData name="Kau, Derchang" userId="b9148588-e694-4445-9765-2c9aad6149ce" providerId="ADAL" clId="{F798D4AA-0E14-EB43-9CA0-DC099737DEE1}" dt="2023-11-27T21:21:25.052" v="8425" actId="20578"/>
        <pc:sldMkLst>
          <pc:docMk/>
          <pc:sldMk cId="1160793672" sldId="2147309868"/>
        </pc:sldMkLst>
        <pc:picChg chg="add mod">
          <ac:chgData name="Kau, Derchang" userId="b9148588-e694-4445-9765-2c9aad6149ce" providerId="ADAL" clId="{F798D4AA-0E14-EB43-9CA0-DC099737DEE1}" dt="2023-11-26T20:45:37.712" v="8225" actId="1076"/>
          <ac:picMkLst>
            <pc:docMk/>
            <pc:sldMk cId="1160793672" sldId="2147309868"/>
            <ac:picMk id="2" creationId="{23FA96F6-25FB-0BC4-C284-8B25FF9A0AF0}"/>
          </ac:picMkLst>
        </pc:picChg>
        <pc:picChg chg="add del mod">
          <ac:chgData name="Kau, Derchang" userId="b9148588-e694-4445-9765-2c9aad6149ce" providerId="ADAL" clId="{F798D4AA-0E14-EB43-9CA0-DC099737DEE1}" dt="2023-11-26T21:30:14.660" v="8227"/>
          <ac:picMkLst>
            <pc:docMk/>
            <pc:sldMk cId="1160793672" sldId="2147309868"/>
            <ac:picMk id="3" creationId="{98553404-754C-7F8D-4DC9-5475CBD6910E}"/>
          </ac:picMkLst>
        </pc:picChg>
      </pc:sldChg>
      <pc:sldChg chg="addSp modSp new mod">
        <pc:chgData name="Kau, Derchang" userId="b9148588-e694-4445-9765-2c9aad6149ce" providerId="ADAL" clId="{F798D4AA-0E14-EB43-9CA0-DC099737DEE1}" dt="2023-11-26T21:30:27.898" v="8232" actId="1076"/>
        <pc:sldMkLst>
          <pc:docMk/>
          <pc:sldMk cId="4286389826" sldId="2147309869"/>
        </pc:sldMkLst>
        <pc:picChg chg="add mod">
          <ac:chgData name="Kau, Derchang" userId="b9148588-e694-4445-9765-2c9aad6149ce" providerId="ADAL" clId="{F798D4AA-0E14-EB43-9CA0-DC099737DEE1}" dt="2023-11-26T21:30:27.898" v="8232" actId="1076"/>
          <ac:picMkLst>
            <pc:docMk/>
            <pc:sldMk cId="4286389826" sldId="2147309869"/>
            <ac:picMk id="2" creationId="{0B029DBA-6701-2AB4-4A60-C19B2580F2D1}"/>
          </ac:picMkLst>
        </pc:picChg>
      </pc:sldChg>
      <pc:sldChg chg="addSp modSp new mod">
        <pc:chgData name="Kau, Derchang" userId="b9148588-e694-4445-9765-2c9aad6149ce" providerId="ADAL" clId="{F798D4AA-0E14-EB43-9CA0-DC099737DEE1}" dt="2023-11-26T22:03:16.868" v="8237" actId="1076"/>
        <pc:sldMkLst>
          <pc:docMk/>
          <pc:sldMk cId="1550914105" sldId="2147309870"/>
        </pc:sldMkLst>
        <pc:picChg chg="add mod">
          <ac:chgData name="Kau, Derchang" userId="b9148588-e694-4445-9765-2c9aad6149ce" providerId="ADAL" clId="{F798D4AA-0E14-EB43-9CA0-DC099737DEE1}" dt="2023-11-26T22:03:16.868" v="8237" actId="1076"/>
          <ac:picMkLst>
            <pc:docMk/>
            <pc:sldMk cId="1550914105" sldId="2147309870"/>
            <ac:picMk id="2" creationId="{EDB0CFFC-55DC-B378-18A5-005442A6C612}"/>
          </ac:picMkLst>
        </pc:picChg>
      </pc:sldChg>
      <pc:sldChg chg="addSp delSp modSp new mod">
        <pc:chgData name="Kau, Derchang" userId="b9148588-e694-4445-9765-2c9aad6149ce" providerId="ADAL" clId="{F798D4AA-0E14-EB43-9CA0-DC099737DEE1}" dt="2023-11-28T17:44:22.361" v="9191" actId="20577"/>
        <pc:sldMkLst>
          <pc:docMk/>
          <pc:sldMk cId="2807881381" sldId="2147309871"/>
        </pc:sldMkLst>
        <pc:spChg chg="mod">
          <ac:chgData name="Kau, Derchang" userId="b9148588-e694-4445-9765-2c9aad6149ce" providerId="ADAL" clId="{F798D4AA-0E14-EB43-9CA0-DC099737DEE1}" dt="2023-11-27T22:20:45.662" v="8725" actId="20577"/>
          <ac:spMkLst>
            <pc:docMk/>
            <pc:sldMk cId="2807881381" sldId="2147309871"/>
            <ac:spMk id="2" creationId="{A8A5B415-9BBD-9ACC-DAE6-4966218C1127}"/>
          </ac:spMkLst>
        </pc:spChg>
        <pc:spChg chg="add del mod">
          <ac:chgData name="Kau, Derchang" userId="b9148588-e694-4445-9765-2c9aad6149ce" providerId="ADAL" clId="{F798D4AA-0E14-EB43-9CA0-DC099737DEE1}" dt="2023-11-27T00:17:29.572" v="8281"/>
          <ac:spMkLst>
            <pc:docMk/>
            <pc:sldMk cId="2807881381" sldId="2147309871"/>
            <ac:spMk id="3" creationId="{4E526B61-B929-0367-415A-B153BE81DF21}"/>
          </ac:spMkLst>
        </pc:spChg>
        <pc:graphicFrameChg chg="add mod modGraphic">
          <ac:chgData name="Kau, Derchang" userId="b9148588-e694-4445-9765-2c9aad6149ce" providerId="ADAL" clId="{F798D4AA-0E14-EB43-9CA0-DC099737DEE1}" dt="2023-11-28T17:44:22.361" v="9191" actId="20577"/>
          <ac:graphicFrameMkLst>
            <pc:docMk/>
            <pc:sldMk cId="2807881381" sldId="2147309871"/>
            <ac:graphicFrameMk id="4" creationId="{8F23F4FD-2CFF-D3E9-C328-97F6E0C6330A}"/>
          </ac:graphicFrameMkLst>
        </pc:graphicFrameChg>
      </pc:sldChg>
      <pc:sldChg chg="addSp delSp modSp new mod modAnim">
        <pc:chgData name="Kau, Derchang" userId="b9148588-e694-4445-9765-2c9aad6149ce" providerId="ADAL" clId="{F798D4AA-0E14-EB43-9CA0-DC099737DEE1}" dt="2023-11-28T04:49:20.734" v="9122"/>
        <pc:sldMkLst>
          <pc:docMk/>
          <pc:sldMk cId="2700130805" sldId="2147309872"/>
        </pc:sldMkLst>
        <pc:spChg chg="mod">
          <ac:chgData name="Kau, Derchang" userId="b9148588-e694-4445-9765-2c9aad6149ce" providerId="ADAL" clId="{F798D4AA-0E14-EB43-9CA0-DC099737DEE1}" dt="2023-11-27T21:54:03.657" v="8524" actId="20577"/>
          <ac:spMkLst>
            <pc:docMk/>
            <pc:sldMk cId="2700130805" sldId="2147309872"/>
            <ac:spMk id="2" creationId="{B5980785-D8A3-ED69-732F-AC97797DD83A}"/>
          </ac:spMkLst>
        </pc:spChg>
        <pc:spChg chg="add mod">
          <ac:chgData name="Kau, Derchang" userId="b9148588-e694-4445-9765-2c9aad6149ce" providerId="ADAL" clId="{F798D4AA-0E14-EB43-9CA0-DC099737DEE1}" dt="2023-11-27T21:56:21.604" v="8566" actId="1076"/>
          <ac:spMkLst>
            <pc:docMk/>
            <pc:sldMk cId="2700130805" sldId="2147309872"/>
            <ac:spMk id="3" creationId="{37FC7A02-5841-56D4-4189-15D2F564CEA9}"/>
          </ac:spMkLst>
        </pc:spChg>
        <pc:spChg chg="add del mod">
          <ac:chgData name="Kau, Derchang" userId="b9148588-e694-4445-9765-2c9aad6149ce" providerId="ADAL" clId="{F798D4AA-0E14-EB43-9CA0-DC099737DEE1}" dt="2023-11-27T21:53:59.496" v="8523"/>
          <ac:spMkLst>
            <pc:docMk/>
            <pc:sldMk cId="2700130805" sldId="2147309872"/>
            <ac:spMk id="4" creationId="{6CA332AC-F9A1-9121-10A0-BB7F30E8ED13}"/>
          </ac:spMkLst>
        </pc:spChg>
        <pc:graphicFrameChg chg="add del mod">
          <ac:chgData name="Kau, Derchang" userId="b9148588-e694-4445-9765-2c9aad6149ce" providerId="ADAL" clId="{F798D4AA-0E14-EB43-9CA0-DC099737DEE1}" dt="2023-11-27T00:20:36.236" v="8372" actId="478"/>
          <ac:graphicFrameMkLst>
            <pc:docMk/>
            <pc:sldMk cId="2700130805" sldId="2147309872"/>
            <ac:graphicFrameMk id="3" creationId="{C23A662A-0769-9807-00C1-B7549CA086C5}"/>
          </ac:graphicFrameMkLst>
        </pc:graphicFrameChg>
        <pc:graphicFrameChg chg="add del mod">
          <ac:chgData name="Kau, Derchang" userId="b9148588-e694-4445-9765-2c9aad6149ce" providerId="ADAL" clId="{F798D4AA-0E14-EB43-9CA0-DC099737DEE1}" dt="2023-11-27T00:20:35.276" v="8371" actId="478"/>
          <ac:graphicFrameMkLst>
            <pc:docMk/>
            <pc:sldMk cId="2700130805" sldId="2147309872"/>
            <ac:graphicFrameMk id="4" creationId="{834ECC75-5F84-599B-2CC2-9A96D2B5D17E}"/>
          </ac:graphicFrameMkLst>
        </pc:graphicFrameChg>
        <pc:graphicFrameChg chg="add mod modGraphic">
          <ac:chgData name="Kau, Derchang" userId="b9148588-e694-4445-9765-2c9aad6149ce" providerId="ADAL" clId="{F798D4AA-0E14-EB43-9CA0-DC099737DEE1}" dt="2023-11-28T04:49:15.913" v="9121"/>
          <ac:graphicFrameMkLst>
            <pc:docMk/>
            <pc:sldMk cId="2700130805" sldId="2147309872"/>
            <ac:graphicFrameMk id="5" creationId="{D74EB00B-3A32-7397-F250-2DBE3C96645A}"/>
          </ac:graphicFrameMkLst>
        </pc:graphicFrameChg>
        <pc:graphicFrameChg chg="add mod modGraphic">
          <ac:chgData name="Kau, Derchang" userId="b9148588-e694-4445-9765-2c9aad6149ce" providerId="ADAL" clId="{F798D4AA-0E14-EB43-9CA0-DC099737DEE1}" dt="2023-11-28T04:49:20.734" v="9122"/>
          <ac:graphicFrameMkLst>
            <pc:docMk/>
            <pc:sldMk cId="2700130805" sldId="2147309872"/>
            <ac:graphicFrameMk id="6" creationId="{AF045575-13CD-C2D6-711F-6B0FFF4AA892}"/>
          </ac:graphicFrameMkLst>
        </pc:graphicFrameChg>
      </pc:sldChg>
      <pc:sldChg chg="addSp modSp new mod">
        <pc:chgData name="Kau, Derchang" userId="b9148588-e694-4445-9765-2c9aad6149ce" providerId="ADAL" clId="{F798D4AA-0E14-EB43-9CA0-DC099737DEE1}" dt="2023-11-28T04:49:27.274" v="9123"/>
        <pc:sldMkLst>
          <pc:docMk/>
          <pc:sldMk cId="2002529280" sldId="2147309873"/>
        </pc:sldMkLst>
        <pc:spChg chg="mod">
          <ac:chgData name="Kau, Derchang" userId="b9148588-e694-4445-9765-2c9aad6149ce" providerId="ADAL" clId="{F798D4AA-0E14-EB43-9CA0-DC099737DEE1}" dt="2023-11-27T22:17:22.400" v="8699" actId="1076"/>
          <ac:spMkLst>
            <pc:docMk/>
            <pc:sldMk cId="2002529280" sldId="2147309873"/>
            <ac:spMk id="2" creationId="{61EB8BD2-E5E7-92D6-2F23-F58686B558E9}"/>
          </ac:spMkLst>
        </pc:spChg>
        <pc:graphicFrameChg chg="add mod modGraphic">
          <ac:chgData name="Kau, Derchang" userId="b9148588-e694-4445-9765-2c9aad6149ce" providerId="ADAL" clId="{F798D4AA-0E14-EB43-9CA0-DC099737DEE1}" dt="2023-11-28T04:49:27.274" v="9123"/>
          <ac:graphicFrameMkLst>
            <pc:docMk/>
            <pc:sldMk cId="2002529280" sldId="2147309873"/>
            <ac:graphicFrameMk id="3" creationId="{FC4B6C64-BA7B-3952-1FBA-E6A583DC7ACF}"/>
          </ac:graphicFrameMkLst>
        </pc:graphicFrameChg>
      </pc:sldChg>
      <pc:sldChg chg="addSp delSp modSp add mod modAnim">
        <pc:chgData name="Kau, Derchang" userId="b9148588-e694-4445-9765-2c9aad6149ce" providerId="ADAL" clId="{F798D4AA-0E14-EB43-9CA0-DC099737DEE1}" dt="2023-11-28T04:53:43.062" v="9164"/>
        <pc:sldMkLst>
          <pc:docMk/>
          <pc:sldMk cId="2107094928" sldId="2147309874"/>
        </pc:sldMkLst>
        <pc:spChg chg="mod">
          <ac:chgData name="Kau, Derchang" userId="b9148588-e694-4445-9765-2c9aad6149ce" providerId="ADAL" clId="{F798D4AA-0E14-EB43-9CA0-DC099737DEE1}" dt="2023-11-28T00:40:52.724" v="9034" actId="1076"/>
          <ac:spMkLst>
            <pc:docMk/>
            <pc:sldMk cId="2107094928" sldId="2147309874"/>
            <ac:spMk id="2" creationId="{D28EB753-2504-A428-8E4A-6651D553C288}"/>
          </ac:spMkLst>
        </pc:spChg>
        <pc:spChg chg="mod">
          <ac:chgData name="Kau, Derchang" userId="b9148588-e694-4445-9765-2c9aad6149ce" providerId="ADAL" clId="{F798D4AA-0E14-EB43-9CA0-DC099737DEE1}" dt="2023-11-28T00:43:23.021" v="9081" actId="20577"/>
          <ac:spMkLst>
            <pc:docMk/>
            <pc:sldMk cId="2107094928" sldId="2147309874"/>
            <ac:spMk id="4" creationId="{0DFB7F33-F72C-4045-5011-B544E6FB6B0B}"/>
          </ac:spMkLst>
        </pc:spChg>
        <pc:spChg chg="mod">
          <ac:chgData name="Kau, Derchang" userId="b9148588-e694-4445-9765-2c9aad6149ce" providerId="ADAL" clId="{F798D4AA-0E14-EB43-9CA0-DC099737DEE1}" dt="2023-11-28T00:40:52.724" v="9034" actId="1076"/>
          <ac:spMkLst>
            <pc:docMk/>
            <pc:sldMk cId="2107094928" sldId="2147309874"/>
            <ac:spMk id="20" creationId="{4243B5DE-AC99-7A44-95AB-CDFB364D7410}"/>
          </ac:spMkLst>
        </pc:spChg>
        <pc:spChg chg="mod">
          <ac:chgData name="Kau, Derchang" userId="b9148588-e694-4445-9765-2c9aad6149ce" providerId="ADAL" clId="{F798D4AA-0E14-EB43-9CA0-DC099737DEE1}" dt="2023-11-28T00:40:52.724" v="9034" actId="1076"/>
          <ac:spMkLst>
            <pc:docMk/>
            <pc:sldMk cId="2107094928" sldId="2147309874"/>
            <ac:spMk id="21" creationId="{7174C828-CD27-5889-24F0-537106C14B7A}"/>
          </ac:spMkLst>
        </pc:spChg>
        <pc:spChg chg="mod">
          <ac:chgData name="Kau, Derchang" userId="b9148588-e694-4445-9765-2c9aad6149ce" providerId="ADAL" clId="{F798D4AA-0E14-EB43-9CA0-DC099737DEE1}" dt="2023-11-28T00:40:52.724" v="9034" actId="1076"/>
          <ac:spMkLst>
            <pc:docMk/>
            <pc:sldMk cId="2107094928" sldId="2147309874"/>
            <ac:spMk id="22" creationId="{F699E1B6-FDF4-79E1-3273-802FB5F88FF7}"/>
          </ac:spMkLst>
        </pc:spChg>
        <pc:spChg chg="mod">
          <ac:chgData name="Kau, Derchang" userId="b9148588-e694-4445-9765-2c9aad6149ce" providerId="ADAL" clId="{F798D4AA-0E14-EB43-9CA0-DC099737DEE1}" dt="2023-11-28T00:40:52.724" v="9034" actId="1076"/>
          <ac:spMkLst>
            <pc:docMk/>
            <pc:sldMk cId="2107094928" sldId="2147309874"/>
            <ac:spMk id="23" creationId="{B2C0FBA3-5A06-53D1-1B83-7F366BE9C155}"/>
          </ac:spMkLst>
        </pc:spChg>
        <pc:spChg chg="mod">
          <ac:chgData name="Kau, Derchang" userId="b9148588-e694-4445-9765-2c9aad6149ce" providerId="ADAL" clId="{F798D4AA-0E14-EB43-9CA0-DC099737DEE1}" dt="2023-11-28T00:40:52.724" v="9034" actId="1076"/>
          <ac:spMkLst>
            <pc:docMk/>
            <pc:sldMk cId="2107094928" sldId="2147309874"/>
            <ac:spMk id="61" creationId="{D194C05C-6052-B280-2A00-9B6AEBB1B50B}"/>
          </ac:spMkLst>
        </pc:spChg>
        <pc:spChg chg="mod">
          <ac:chgData name="Kau, Derchang" userId="b9148588-e694-4445-9765-2c9aad6149ce" providerId="ADAL" clId="{F798D4AA-0E14-EB43-9CA0-DC099737DEE1}" dt="2023-11-28T00:40:52.724" v="9034" actId="1076"/>
          <ac:spMkLst>
            <pc:docMk/>
            <pc:sldMk cId="2107094928" sldId="2147309874"/>
            <ac:spMk id="62" creationId="{00991198-F210-38C3-2525-173DB5620645}"/>
          </ac:spMkLst>
        </pc:spChg>
        <pc:spChg chg="mod">
          <ac:chgData name="Kau, Derchang" userId="b9148588-e694-4445-9765-2c9aad6149ce" providerId="ADAL" clId="{F798D4AA-0E14-EB43-9CA0-DC099737DEE1}" dt="2023-11-28T00:40:52.724" v="9034" actId="1076"/>
          <ac:spMkLst>
            <pc:docMk/>
            <pc:sldMk cId="2107094928" sldId="2147309874"/>
            <ac:spMk id="64" creationId="{73CEC458-0BDD-B99F-59DF-A843C9AE5D07}"/>
          </ac:spMkLst>
        </pc:spChg>
        <pc:spChg chg="mod">
          <ac:chgData name="Kau, Derchang" userId="b9148588-e694-4445-9765-2c9aad6149ce" providerId="ADAL" clId="{F798D4AA-0E14-EB43-9CA0-DC099737DEE1}" dt="2023-11-28T00:40:52.724" v="9034" actId="1076"/>
          <ac:spMkLst>
            <pc:docMk/>
            <pc:sldMk cId="2107094928" sldId="2147309874"/>
            <ac:spMk id="65" creationId="{A7048794-A12E-B9BC-A8D1-A5D9DBCD15BE}"/>
          </ac:spMkLst>
        </pc:spChg>
        <pc:spChg chg="mod">
          <ac:chgData name="Kau, Derchang" userId="b9148588-e694-4445-9765-2c9aad6149ce" providerId="ADAL" clId="{F798D4AA-0E14-EB43-9CA0-DC099737DEE1}" dt="2023-11-28T00:40:52.724" v="9034" actId="1076"/>
          <ac:spMkLst>
            <pc:docMk/>
            <pc:sldMk cId="2107094928" sldId="2147309874"/>
            <ac:spMk id="66" creationId="{EB8EC5D9-B5F0-F4C6-DE01-F7CC35FB79AC}"/>
          </ac:spMkLst>
        </pc:spChg>
        <pc:spChg chg="mod">
          <ac:chgData name="Kau, Derchang" userId="b9148588-e694-4445-9765-2c9aad6149ce" providerId="ADAL" clId="{F798D4AA-0E14-EB43-9CA0-DC099737DEE1}" dt="2023-11-28T00:40:52.724" v="9034" actId="1076"/>
          <ac:spMkLst>
            <pc:docMk/>
            <pc:sldMk cId="2107094928" sldId="2147309874"/>
            <ac:spMk id="67" creationId="{402EA3B8-05F5-7AA6-E2F1-56D03CCE9381}"/>
          </ac:spMkLst>
        </pc:spChg>
        <pc:spChg chg="mod">
          <ac:chgData name="Kau, Derchang" userId="b9148588-e694-4445-9765-2c9aad6149ce" providerId="ADAL" clId="{F798D4AA-0E14-EB43-9CA0-DC099737DEE1}" dt="2023-11-28T00:40:52.724" v="9034" actId="1076"/>
          <ac:spMkLst>
            <pc:docMk/>
            <pc:sldMk cId="2107094928" sldId="2147309874"/>
            <ac:spMk id="68" creationId="{C7F5ADC1-06D2-F5D7-81F4-6F42462FB5C1}"/>
          </ac:spMkLst>
        </pc:spChg>
        <pc:spChg chg="mod">
          <ac:chgData name="Kau, Derchang" userId="b9148588-e694-4445-9765-2c9aad6149ce" providerId="ADAL" clId="{F798D4AA-0E14-EB43-9CA0-DC099737DEE1}" dt="2023-11-28T00:40:52.724" v="9034" actId="1076"/>
          <ac:spMkLst>
            <pc:docMk/>
            <pc:sldMk cId="2107094928" sldId="2147309874"/>
            <ac:spMk id="70" creationId="{67EF081D-DA52-37C9-1ED4-181844A6EB31}"/>
          </ac:spMkLst>
        </pc:spChg>
        <pc:spChg chg="mod">
          <ac:chgData name="Kau, Derchang" userId="b9148588-e694-4445-9765-2c9aad6149ce" providerId="ADAL" clId="{F798D4AA-0E14-EB43-9CA0-DC099737DEE1}" dt="2023-11-28T00:40:52.724" v="9034" actId="1076"/>
          <ac:spMkLst>
            <pc:docMk/>
            <pc:sldMk cId="2107094928" sldId="2147309874"/>
            <ac:spMk id="71" creationId="{A3A38291-6EE2-B746-64EA-298E09ED1756}"/>
          </ac:spMkLst>
        </pc:spChg>
        <pc:spChg chg="mod">
          <ac:chgData name="Kau, Derchang" userId="b9148588-e694-4445-9765-2c9aad6149ce" providerId="ADAL" clId="{F798D4AA-0E14-EB43-9CA0-DC099737DEE1}" dt="2023-11-28T00:40:52.724" v="9034" actId="1076"/>
          <ac:spMkLst>
            <pc:docMk/>
            <pc:sldMk cId="2107094928" sldId="2147309874"/>
            <ac:spMk id="72" creationId="{C68CF1DA-B8E5-9017-E86A-E8BB104AB913}"/>
          </ac:spMkLst>
        </pc:spChg>
        <pc:spChg chg="mod">
          <ac:chgData name="Kau, Derchang" userId="b9148588-e694-4445-9765-2c9aad6149ce" providerId="ADAL" clId="{F798D4AA-0E14-EB43-9CA0-DC099737DEE1}" dt="2023-11-28T00:40:52.724" v="9034" actId="1076"/>
          <ac:spMkLst>
            <pc:docMk/>
            <pc:sldMk cId="2107094928" sldId="2147309874"/>
            <ac:spMk id="73" creationId="{21252734-19A2-0AE3-B154-3D43F01ED6BF}"/>
          </ac:spMkLst>
        </pc:spChg>
        <pc:spChg chg="mod">
          <ac:chgData name="Kau, Derchang" userId="b9148588-e694-4445-9765-2c9aad6149ce" providerId="ADAL" clId="{F798D4AA-0E14-EB43-9CA0-DC099737DEE1}" dt="2023-11-28T00:40:52.724" v="9034" actId="1076"/>
          <ac:spMkLst>
            <pc:docMk/>
            <pc:sldMk cId="2107094928" sldId="2147309874"/>
            <ac:spMk id="75" creationId="{F282B8C1-3AA3-3AC2-AFB9-A56AA12E622A}"/>
          </ac:spMkLst>
        </pc:spChg>
        <pc:grpChg chg="mod">
          <ac:chgData name="Kau, Derchang" userId="b9148588-e694-4445-9765-2c9aad6149ce" providerId="ADAL" clId="{F798D4AA-0E14-EB43-9CA0-DC099737DEE1}" dt="2023-11-28T00:40:52.724" v="9034" actId="1076"/>
          <ac:grpSpMkLst>
            <pc:docMk/>
            <pc:sldMk cId="2107094928" sldId="2147309874"/>
            <ac:grpSpMk id="9" creationId="{B1558374-7A9E-2EEA-16D8-C25377086BD4}"/>
          </ac:grpSpMkLst>
        </pc:grpChg>
        <pc:grpChg chg="mod">
          <ac:chgData name="Kau, Derchang" userId="b9148588-e694-4445-9765-2c9aad6149ce" providerId="ADAL" clId="{F798D4AA-0E14-EB43-9CA0-DC099737DEE1}" dt="2023-11-28T00:40:52.724" v="9034" actId="1076"/>
          <ac:grpSpMkLst>
            <pc:docMk/>
            <pc:sldMk cId="2107094928" sldId="2147309874"/>
            <ac:grpSpMk id="10" creationId="{CB065E86-D50B-9C09-1C35-DC8BA335C474}"/>
          </ac:grpSpMkLst>
        </pc:grpChg>
        <pc:grpChg chg="mod">
          <ac:chgData name="Kau, Derchang" userId="b9148588-e694-4445-9765-2c9aad6149ce" providerId="ADAL" clId="{F798D4AA-0E14-EB43-9CA0-DC099737DEE1}" dt="2023-11-28T00:40:52.724" v="9034" actId="1076"/>
          <ac:grpSpMkLst>
            <pc:docMk/>
            <pc:sldMk cId="2107094928" sldId="2147309874"/>
            <ac:grpSpMk id="11" creationId="{21F77BD1-EAC5-8587-5DF2-E9F6DEF36541}"/>
          </ac:grpSpMkLst>
        </pc:grpChg>
        <pc:grpChg chg="mod">
          <ac:chgData name="Kau, Derchang" userId="b9148588-e694-4445-9765-2c9aad6149ce" providerId="ADAL" clId="{F798D4AA-0E14-EB43-9CA0-DC099737DEE1}" dt="2023-11-28T00:40:52.724" v="9034" actId="1076"/>
          <ac:grpSpMkLst>
            <pc:docMk/>
            <pc:sldMk cId="2107094928" sldId="2147309874"/>
            <ac:grpSpMk id="14" creationId="{7D3F80CB-CD57-ED81-3D72-9CC09DF054CB}"/>
          </ac:grpSpMkLst>
        </pc:grpChg>
        <pc:grpChg chg="mod">
          <ac:chgData name="Kau, Derchang" userId="b9148588-e694-4445-9765-2c9aad6149ce" providerId="ADAL" clId="{F798D4AA-0E14-EB43-9CA0-DC099737DEE1}" dt="2023-11-28T00:40:52.724" v="9034" actId="1076"/>
          <ac:grpSpMkLst>
            <pc:docMk/>
            <pc:sldMk cId="2107094928" sldId="2147309874"/>
            <ac:grpSpMk id="16" creationId="{5C9E667A-FDDE-7BEB-21C5-6F9D386E8E44}"/>
          </ac:grpSpMkLst>
        </pc:grpChg>
        <pc:grpChg chg="mod">
          <ac:chgData name="Kau, Derchang" userId="b9148588-e694-4445-9765-2c9aad6149ce" providerId="ADAL" clId="{F798D4AA-0E14-EB43-9CA0-DC099737DEE1}" dt="2023-11-28T00:40:52.724" v="9034" actId="1076"/>
          <ac:grpSpMkLst>
            <pc:docMk/>
            <pc:sldMk cId="2107094928" sldId="2147309874"/>
            <ac:grpSpMk id="18" creationId="{ADC16AAE-DA7E-AEC1-F46A-91BABA5587B9}"/>
          </ac:grpSpMkLst>
        </pc:grpChg>
        <pc:graphicFrameChg chg="add del mod">
          <ac:chgData name="Kau, Derchang" userId="b9148588-e694-4445-9765-2c9aad6149ce" providerId="ADAL" clId="{F798D4AA-0E14-EB43-9CA0-DC099737DEE1}" dt="2023-11-28T00:37:49.069" v="8978"/>
          <ac:graphicFrameMkLst>
            <pc:docMk/>
            <pc:sldMk cId="2107094928" sldId="2147309874"/>
            <ac:graphicFrameMk id="5" creationId="{3975C8B0-68B7-9924-4C16-63E843B100F5}"/>
          </ac:graphicFrameMkLst>
        </pc:graphicFrameChg>
        <pc:graphicFrameChg chg="add mod modGraphic">
          <ac:chgData name="Kau, Derchang" userId="b9148588-e694-4445-9765-2c9aad6149ce" providerId="ADAL" clId="{F798D4AA-0E14-EB43-9CA0-DC099737DEE1}" dt="2023-11-28T04:52:38.474" v="9157" actId="20577"/>
          <ac:graphicFrameMkLst>
            <pc:docMk/>
            <pc:sldMk cId="2107094928" sldId="2147309874"/>
            <ac:graphicFrameMk id="6" creationId="{B4120ADC-9B48-6106-D135-A495BB426A06}"/>
          </ac:graphicFrameMkLst>
        </pc:graphicFrameChg>
        <pc:picChg chg="mod">
          <ac:chgData name="Kau, Derchang" userId="b9148588-e694-4445-9765-2c9aad6149ce" providerId="ADAL" clId="{F798D4AA-0E14-EB43-9CA0-DC099737DEE1}" dt="2023-11-28T00:40:52.724" v="9034" actId="1076"/>
          <ac:picMkLst>
            <pc:docMk/>
            <pc:sldMk cId="2107094928" sldId="2147309874"/>
            <ac:picMk id="7" creationId="{88D844E6-E9F0-7E09-4312-24A72CEB0CD9}"/>
          </ac:picMkLst>
        </pc:picChg>
        <pc:picChg chg="mod">
          <ac:chgData name="Kau, Derchang" userId="b9148588-e694-4445-9765-2c9aad6149ce" providerId="ADAL" clId="{F798D4AA-0E14-EB43-9CA0-DC099737DEE1}" dt="2023-11-28T00:40:52.724" v="9034" actId="1076"/>
          <ac:picMkLst>
            <pc:docMk/>
            <pc:sldMk cId="2107094928" sldId="2147309874"/>
            <ac:picMk id="13" creationId="{BCADEEC7-5203-3113-FEAF-A1A721A3AED7}"/>
          </ac:picMkLst>
        </pc:picChg>
        <pc:picChg chg="mod">
          <ac:chgData name="Kau, Derchang" userId="b9148588-e694-4445-9765-2c9aad6149ce" providerId="ADAL" clId="{F798D4AA-0E14-EB43-9CA0-DC099737DEE1}" dt="2023-11-28T00:40:52.724" v="9034" actId="1076"/>
          <ac:picMkLst>
            <pc:docMk/>
            <pc:sldMk cId="2107094928" sldId="2147309874"/>
            <ac:picMk id="15" creationId="{CBBF9ACD-4DF5-9CD6-81FF-512EF59B1CFA}"/>
          </ac:picMkLst>
        </pc:picChg>
        <pc:picChg chg="mod">
          <ac:chgData name="Kau, Derchang" userId="b9148588-e694-4445-9765-2c9aad6149ce" providerId="ADAL" clId="{F798D4AA-0E14-EB43-9CA0-DC099737DEE1}" dt="2023-11-28T00:40:52.724" v="9034" actId="1076"/>
          <ac:picMkLst>
            <pc:docMk/>
            <pc:sldMk cId="2107094928" sldId="2147309874"/>
            <ac:picMk id="19" creationId="{6C8A0E95-8F7E-7265-7A09-0E1E81FED78A}"/>
          </ac:picMkLst>
        </pc:picChg>
        <pc:picChg chg="mod">
          <ac:chgData name="Kau, Derchang" userId="b9148588-e694-4445-9765-2c9aad6149ce" providerId="ADAL" clId="{F798D4AA-0E14-EB43-9CA0-DC099737DEE1}" dt="2023-11-28T00:40:52.724" v="9034" actId="1076"/>
          <ac:picMkLst>
            <pc:docMk/>
            <pc:sldMk cId="2107094928" sldId="2147309874"/>
            <ac:picMk id="24" creationId="{F640E26D-5E55-ED1A-456B-1D2F3B4812C1}"/>
          </ac:picMkLst>
        </pc:picChg>
        <pc:picChg chg="mod">
          <ac:chgData name="Kau, Derchang" userId="b9148588-e694-4445-9765-2c9aad6149ce" providerId="ADAL" clId="{F798D4AA-0E14-EB43-9CA0-DC099737DEE1}" dt="2023-11-28T00:40:52.724" v="9034" actId="1076"/>
          <ac:picMkLst>
            <pc:docMk/>
            <pc:sldMk cId="2107094928" sldId="2147309874"/>
            <ac:picMk id="63" creationId="{C2A843C4-4DEA-C4AD-1F5E-91D3F0EBA20F}"/>
          </ac:picMkLst>
        </pc:picChg>
      </pc:sldChg>
      <pc:sldChg chg="new del">
        <pc:chgData name="Kau, Derchang" userId="b9148588-e694-4445-9765-2c9aad6149ce" providerId="ADAL" clId="{F798D4AA-0E14-EB43-9CA0-DC099737DEE1}" dt="2023-11-27T22:46:17.715" v="8793" actId="680"/>
        <pc:sldMkLst>
          <pc:docMk/>
          <pc:sldMk cId="2247981447" sldId="2147309874"/>
        </pc:sldMkLst>
      </pc:sldChg>
      <pc:sldChg chg="addSp modSp new mod">
        <pc:chgData name="Kau, Derchang" userId="b9148588-e694-4445-9765-2c9aad6149ce" providerId="ADAL" clId="{F798D4AA-0E14-EB43-9CA0-DC099737DEE1}" dt="2023-11-28T17:42:43.800" v="9176" actId="1076"/>
        <pc:sldMkLst>
          <pc:docMk/>
          <pc:sldMk cId="750925292" sldId="2147309875"/>
        </pc:sldMkLst>
        <pc:picChg chg="add mod">
          <ac:chgData name="Kau, Derchang" userId="b9148588-e694-4445-9765-2c9aad6149ce" providerId="ADAL" clId="{F798D4AA-0E14-EB43-9CA0-DC099737DEE1}" dt="2023-11-28T17:42:43.800" v="9176" actId="1076"/>
          <ac:picMkLst>
            <pc:docMk/>
            <pc:sldMk cId="750925292" sldId="2147309875"/>
            <ac:picMk id="2" creationId="{F3A4ED5C-8E09-9C62-9F67-A82E37FDAFDC}"/>
          </ac:picMkLst>
        </pc:picChg>
      </pc:sldChg>
      <pc:sldMasterChg chg="delSldLayout modSldLayout">
        <pc:chgData name="Kau, Derchang" userId="b9148588-e694-4445-9765-2c9aad6149ce" providerId="ADAL" clId="{F798D4AA-0E14-EB43-9CA0-DC099737DEE1}" dt="2023-11-21T06:55:20.597" v="7115" actId="478"/>
        <pc:sldMasterMkLst>
          <pc:docMk/>
          <pc:sldMasterMk cId="0" sldId="2147483660"/>
        </pc:sldMasterMkLst>
        <pc:sldLayoutChg chg="del">
          <pc:chgData name="Kau, Derchang" userId="b9148588-e694-4445-9765-2c9aad6149ce" providerId="ADAL" clId="{F798D4AA-0E14-EB43-9CA0-DC099737DEE1}" dt="2023-11-21T06:53:23.305" v="7103" actId="2696"/>
          <pc:sldLayoutMkLst>
            <pc:docMk/>
            <pc:sldMasterMk cId="0" sldId="2147483660"/>
            <pc:sldLayoutMk cId="2730113021" sldId="2147483676"/>
          </pc:sldLayoutMkLst>
        </pc:sldLayoutChg>
        <pc:sldLayoutChg chg="del">
          <pc:chgData name="Kau, Derchang" userId="b9148588-e694-4445-9765-2c9aad6149ce" providerId="ADAL" clId="{F798D4AA-0E14-EB43-9CA0-DC099737DEE1}" dt="2023-11-21T06:53:25.901" v="7104" actId="2696"/>
          <pc:sldLayoutMkLst>
            <pc:docMk/>
            <pc:sldMasterMk cId="0" sldId="2147483660"/>
            <pc:sldLayoutMk cId="4061684261" sldId="2147483677"/>
          </pc:sldLayoutMkLst>
        </pc:sldLayoutChg>
        <pc:sldLayoutChg chg="del">
          <pc:chgData name="Kau, Derchang" userId="b9148588-e694-4445-9765-2c9aad6149ce" providerId="ADAL" clId="{F798D4AA-0E14-EB43-9CA0-DC099737DEE1}" dt="2023-11-21T06:53:50.449" v="7105" actId="2696"/>
          <pc:sldLayoutMkLst>
            <pc:docMk/>
            <pc:sldMasterMk cId="0" sldId="2147483660"/>
            <pc:sldLayoutMk cId="2138110187" sldId="2147483689"/>
          </pc:sldLayoutMkLst>
        </pc:sldLayoutChg>
        <pc:sldLayoutChg chg="del">
          <pc:chgData name="Kau, Derchang" userId="b9148588-e694-4445-9765-2c9aad6149ce" providerId="ADAL" clId="{F798D4AA-0E14-EB43-9CA0-DC099737DEE1}" dt="2023-11-21T06:53:52.761" v="7106" actId="2696"/>
          <pc:sldLayoutMkLst>
            <pc:docMk/>
            <pc:sldMasterMk cId="0" sldId="2147483660"/>
            <pc:sldLayoutMk cId="3741384185" sldId="2147483690"/>
          </pc:sldLayoutMkLst>
        </pc:sldLayoutChg>
        <pc:sldLayoutChg chg="del">
          <pc:chgData name="Kau, Derchang" userId="b9148588-e694-4445-9765-2c9aad6149ce" providerId="ADAL" clId="{F798D4AA-0E14-EB43-9CA0-DC099737DEE1}" dt="2023-11-21T06:53:55.204" v="7107" actId="2696"/>
          <pc:sldLayoutMkLst>
            <pc:docMk/>
            <pc:sldMasterMk cId="0" sldId="2147483660"/>
            <pc:sldLayoutMk cId="733030421" sldId="2147483691"/>
          </pc:sldLayoutMkLst>
        </pc:sldLayoutChg>
        <pc:sldLayoutChg chg="del">
          <pc:chgData name="Kau, Derchang" userId="b9148588-e694-4445-9765-2c9aad6149ce" providerId="ADAL" clId="{F798D4AA-0E14-EB43-9CA0-DC099737DEE1}" dt="2023-11-21T06:54:03.306" v="7108" actId="2696"/>
          <pc:sldLayoutMkLst>
            <pc:docMk/>
            <pc:sldMasterMk cId="0" sldId="2147483660"/>
            <pc:sldLayoutMk cId="39579682" sldId="2147483692"/>
          </pc:sldLayoutMkLst>
        </pc:sldLayoutChg>
        <pc:sldLayoutChg chg="delSp modSp mod">
          <pc:chgData name="Kau, Derchang" userId="b9148588-e694-4445-9765-2c9aad6149ce" providerId="ADAL" clId="{F798D4AA-0E14-EB43-9CA0-DC099737DEE1}" dt="2023-11-21T06:55:20.597" v="7115" actId="478"/>
          <pc:sldLayoutMkLst>
            <pc:docMk/>
            <pc:sldMasterMk cId="0" sldId="2147483660"/>
            <pc:sldLayoutMk cId="3301806991" sldId="2147483693"/>
          </pc:sldLayoutMkLst>
          <pc:spChg chg="del">
            <ac:chgData name="Kau, Derchang" userId="b9148588-e694-4445-9765-2c9aad6149ce" providerId="ADAL" clId="{F798D4AA-0E14-EB43-9CA0-DC099737DEE1}" dt="2023-11-21T06:55:16.697" v="7114" actId="478"/>
            <ac:spMkLst>
              <pc:docMk/>
              <pc:sldMasterMk cId="0" sldId="2147483660"/>
              <pc:sldLayoutMk cId="3301806991" sldId="2147483693"/>
              <ac:spMk id="5" creationId="{AD37F5FD-576C-994A-89F7-BA48AFD51B12}"/>
            </ac:spMkLst>
          </pc:spChg>
          <pc:spChg chg="del">
            <ac:chgData name="Kau, Derchang" userId="b9148588-e694-4445-9765-2c9aad6149ce" providerId="ADAL" clId="{F798D4AA-0E14-EB43-9CA0-DC099737DEE1}" dt="2023-11-21T06:55:20.597" v="7115" actId="478"/>
            <ac:spMkLst>
              <pc:docMk/>
              <pc:sldMasterMk cId="0" sldId="2147483660"/>
              <pc:sldLayoutMk cId="3301806991" sldId="2147483693"/>
              <ac:spMk id="6" creationId="{00000000-0000-0000-0000-000000000000}"/>
            </ac:spMkLst>
          </pc:spChg>
          <pc:grpChg chg="del mod">
            <ac:chgData name="Kau, Derchang" userId="b9148588-e694-4445-9765-2c9aad6149ce" providerId="ADAL" clId="{F798D4AA-0E14-EB43-9CA0-DC099737DEE1}" dt="2023-11-21T06:54:58.388" v="7113" actId="478"/>
            <ac:grpSpMkLst>
              <pc:docMk/>
              <pc:sldMasterMk cId="0" sldId="2147483660"/>
              <pc:sldLayoutMk cId="3301806991" sldId="2147483693"/>
              <ac:grpSpMk id="7" creationId="{DB6096F9-F0B5-BE4C-8C00-DC93580B1204}"/>
            </ac:grpSpMkLst>
          </pc:gr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CFD15C-37E3-584D-B296-3D6F27493E15}" type="doc">
      <dgm:prSet loTypeId="urn:microsoft.com/office/officeart/2005/8/layout/pyramid1" loCatId="" qsTypeId="urn:microsoft.com/office/officeart/2005/8/quickstyle/simple1" qsCatId="simple" csTypeId="urn:microsoft.com/office/officeart/2005/8/colors/accent1_2" csCatId="accent1" phldr="1"/>
      <dgm:spPr/>
    </dgm:pt>
    <dgm:pt modelId="{4763236E-6E72-0B45-A74A-5A9B71286E15}">
      <dgm:prSet phldrT="[Text]" custT="1"/>
      <dgm:spPr>
        <a:noFill/>
        <a:ln>
          <a:solidFill>
            <a:schemeClr val="accent2"/>
          </a:solidFill>
        </a:ln>
      </dgm:spPr>
      <dgm:t>
        <a:bodyPr/>
        <a:lstStyle/>
        <a:p>
          <a:endParaRPr lang="en-US" sz="1800" b="1" dirty="0"/>
        </a:p>
        <a:p>
          <a:r>
            <a:rPr lang="en-US" sz="1800" b="1" dirty="0"/>
            <a:t>SRAM</a:t>
          </a:r>
        </a:p>
      </dgm:t>
    </dgm:pt>
    <dgm:pt modelId="{544EEC61-3470-764B-816F-A2173B9DF474}" type="parTrans" cxnId="{D3E6090B-F7A0-0246-AE4C-C35A1EDBDD95}">
      <dgm:prSet/>
      <dgm:spPr/>
      <dgm:t>
        <a:bodyPr/>
        <a:lstStyle/>
        <a:p>
          <a:endParaRPr lang="en-US" sz="1200" b="1"/>
        </a:p>
      </dgm:t>
    </dgm:pt>
    <dgm:pt modelId="{75B17F2C-081C-DF40-B412-EFD2A69B2658}" type="sibTrans" cxnId="{D3E6090B-F7A0-0246-AE4C-C35A1EDBDD95}">
      <dgm:prSet/>
      <dgm:spPr/>
      <dgm:t>
        <a:bodyPr/>
        <a:lstStyle/>
        <a:p>
          <a:endParaRPr lang="en-US" sz="1200" b="1"/>
        </a:p>
      </dgm:t>
    </dgm:pt>
    <dgm:pt modelId="{DAA10B15-CB94-5245-BD0C-B5F0C074F383}">
      <dgm:prSet phldrT="[Text]" custT="1"/>
      <dgm:spPr>
        <a:noFill/>
        <a:ln>
          <a:solidFill>
            <a:schemeClr val="accent2"/>
          </a:solidFill>
        </a:ln>
      </dgm:spPr>
      <dgm:t>
        <a:bodyPr/>
        <a:lstStyle/>
        <a:p>
          <a:r>
            <a:rPr lang="en-US" sz="1800" b="1" dirty="0"/>
            <a:t>DRAM</a:t>
          </a:r>
        </a:p>
      </dgm:t>
    </dgm:pt>
    <dgm:pt modelId="{71A6FCD7-46F0-5246-85A8-971DD3F67B64}" type="parTrans" cxnId="{EFFFE220-05D3-8940-B993-D7E7B5707DE2}">
      <dgm:prSet/>
      <dgm:spPr/>
      <dgm:t>
        <a:bodyPr/>
        <a:lstStyle/>
        <a:p>
          <a:endParaRPr lang="en-US" sz="1200" b="1"/>
        </a:p>
      </dgm:t>
    </dgm:pt>
    <dgm:pt modelId="{79AEB85B-52DA-9142-9018-8B17C02FA477}" type="sibTrans" cxnId="{EFFFE220-05D3-8940-B993-D7E7B5707DE2}">
      <dgm:prSet/>
      <dgm:spPr/>
      <dgm:t>
        <a:bodyPr/>
        <a:lstStyle/>
        <a:p>
          <a:endParaRPr lang="en-US" sz="1200" b="1"/>
        </a:p>
      </dgm:t>
    </dgm:pt>
    <dgm:pt modelId="{647B3E15-9FBC-EF43-A5BF-0AF7B30FD33C}">
      <dgm:prSet phldrT="[Text]" custT="1"/>
      <dgm:spPr>
        <a:noFill/>
        <a:ln>
          <a:solidFill>
            <a:schemeClr val="accent2"/>
          </a:solidFill>
        </a:ln>
      </dgm:spPr>
      <dgm:t>
        <a:bodyPr/>
        <a:lstStyle/>
        <a:p>
          <a:r>
            <a:rPr lang="en-US" sz="2000" b="1"/>
            <a:t>HDD</a:t>
          </a:r>
        </a:p>
      </dgm:t>
    </dgm:pt>
    <dgm:pt modelId="{B1CCA8BF-1DAE-9141-9C8B-D1541D74B1BB}" type="parTrans" cxnId="{141E85E5-300A-3A43-A765-4884222D1EAD}">
      <dgm:prSet/>
      <dgm:spPr/>
      <dgm:t>
        <a:bodyPr/>
        <a:lstStyle/>
        <a:p>
          <a:endParaRPr lang="en-US" sz="1200" b="1"/>
        </a:p>
      </dgm:t>
    </dgm:pt>
    <dgm:pt modelId="{99D80BFD-2918-6247-859F-5207BC304F1E}" type="sibTrans" cxnId="{141E85E5-300A-3A43-A765-4884222D1EAD}">
      <dgm:prSet/>
      <dgm:spPr/>
      <dgm:t>
        <a:bodyPr/>
        <a:lstStyle/>
        <a:p>
          <a:endParaRPr lang="en-US" sz="1200" b="1"/>
        </a:p>
      </dgm:t>
    </dgm:pt>
    <dgm:pt modelId="{BA8091E7-2019-FC4A-BDEE-E12F18A3883C}">
      <dgm:prSet phldrT="[Text]" custT="1"/>
      <dgm:spPr>
        <a:noFill/>
        <a:ln>
          <a:solidFill>
            <a:schemeClr val="accent2"/>
          </a:solidFill>
        </a:ln>
      </dgm:spPr>
      <dgm:t>
        <a:bodyPr/>
        <a:lstStyle/>
        <a:p>
          <a:r>
            <a:rPr lang="en-US" sz="1800" b="1"/>
            <a:t>SSD</a:t>
          </a:r>
        </a:p>
      </dgm:t>
    </dgm:pt>
    <dgm:pt modelId="{B603B266-2CE5-7348-A3D2-C6B64EB55A7A}" type="parTrans" cxnId="{811FB071-A936-784D-90B9-140DEAE8C86F}">
      <dgm:prSet/>
      <dgm:spPr/>
      <dgm:t>
        <a:bodyPr/>
        <a:lstStyle/>
        <a:p>
          <a:endParaRPr lang="en-US" sz="1200" b="1"/>
        </a:p>
      </dgm:t>
    </dgm:pt>
    <dgm:pt modelId="{2B20E460-B501-8F43-9E35-6D679DFED455}" type="sibTrans" cxnId="{811FB071-A936-784D-90B9-140DEAE8C86F}">
      <dgm:prSet/>
      <dgm:spPr/>
      <dgm:t>
        <a:bodyPr/>
        <a:lstStyle/>
        <a:p>
          <a:endParaRPr lang="en-US" sz="1200" b="1"/>
        </a:p>
      </dgm:t>
    </dgm:pt>
    <dgm:pt modelId="{AB3FB2EC-2055-5B4D-BB16-AE78FAA91D73}" type="pres">
      <dgm:prSet presAssocID="{77CFD15C-37E3-584D-B296-3D6F27493E15}" presName="Name0" presStyleCnt="0">
        <dgm:presLayoutVars>
          <dgm:dir/>
          <dgm:animLvl val="lvl"/>
          <dgm:resizeHandles val="exact"/>
        </dgm:presLayoutVars>
      </dgm:prSet>
      <dgm:spPr/>
    </dgm:pt>
    <dgm:pt modelId="{802B54FA-6BE0-A343-A9AB-19CFDAACC20B}" type="pres">
      <dgm:prSet presAssocID="{4763236E-6E72-0B45-A74A-5A9B71286E15}" presName="Name8" presStyleCnt="0"/>
      <dgm:spPr/>
    </dgm:pt>
    <dgm:pt modelId="{69F65386-CF93-BE4B-A8E1-780A95A034D3}" type="pres">
      <dgm:prSet presAssocID="{4763236E-6E72-0B45-A74A-5A9B71286E15}" presName="level" presStyleLbl="node1" presStyleIdx="0" presStyleCnt="4">
        <dgm:presLayoutVars>
          <dgm:chMax val="1"/>
          <dgm:bulletEnabled val="1"/>
        </dgm:presLayoutVars>
      </dgm:prSet>
      <dgm:spPr/>
    </dgm:pt>
    <dgm:pt modelId="{689965D5-0443-1C45-9FA5-469F3EB663AC}" type="pres">
      <dgm:prSet presAssocID="{4763236E-6E72-0B45-A74A-5A9B71286E15}" presName="levelTx" presStyleLbl="revTx" presStyleIdx="0" presStyleCnt="0">
        <dgm:presLayoutVars>
          <dgm:chMax val="1"/>
          <dgm:bulletEnabled val="1"/>
        </dgm:presLayoutVars>
      </dgm:prSet>
      <dgm:spPr/>
    </dgm:pt>
    <dgm:pt modelId="{124B8ADD-6677-3D42-B8AC-1AB4A9821085}" type="pres">
      <dgm:prSet presAssocID="{DAA10B15-CB94-5245-BD0C-B5F0C074F383}" presName="Name8" presStyleCnt="0"/>
      <dgm:spPr/>
    </dgm:pt>
    <dgm:pt modelId="{C5D28E9F-105B-F54E-BB03-E90BAF13DB51}" type="pres">
      <dgm:prSet presAssocID="{DAA10B15-CB94-5245-BD0C-B5F0C074F383}" presName="level" presStyleLbl="node1" presStyleIdx="1" presStyleCnt="4">
        <dgm:presLayoutVars>
          <dgm:chMax val="1"/>
          <dgm:bulletEnabled val="1"/>
        </dgm:presLayoutVars>
      </dgm:prSet>
      <dgm:spPr/>
    </dgm:pt>
    <dgm:pt modelId="{271DEE21-AF5F-3042-93FE-53E682F36034}" type="pres">
      <dgm:prSet presAssocID="{DAA10B15-CB94-5245-BD0C-B5F0C074F383}" presName="levelTx" presStyleLbl="revTx" presStyleIdx="0" presStyleCnt="0">
        <dgm:presLayoutVars>
          <dgm:chMax val="1"/>
          <dgm:bulletEnabled val="1"/>
        </dgm:presLayoutVars>
      </dgm:prSet>
      <dgm:spPr/>
    </dgm:pt>
    <dgm:pt modelId="{C03F2F4E-4809-144C-8360-FC539BEAFBE3}" type="pres">
      <dgm:prSet presAssocID="{BA8091E7-2019-FC4A-BDEE-E12F18A3883C}" presName="Name8" presStyleCnt="0"/>
      <dgm:spPr/>
    </dgm:pt>
    <dgm:pt modelId="{0F30B6A2-EFFD-1E42-85BA-FD29637FDEB5}" type="pres">
      <dgm:prSet presAssocID="{BA8091E7-2019-FC4A-BDEE-E12F18A3883C}" presName="level" presStyleLbl="node1" presStyleIdx="2" presStyleCnt="4">
        <dgm:presLayoutVars>
          <dgm:chMax val="1"/>
          <dgm:bulletEnabled val="1"/>
        </dgm:presLayoutVars>
      </dgm:prSet>
      <dgm:spPr/>
    </dgm:pt>
    <dgm:pt modelId="{4FC80ECA-ADDD-6548-9ED6-BD436A077852}" type="pres">
      <dgm:prSet presAssocID="{BA8091E7-2019-FC4A-BDEE-E12F18A3883C}" presName="levelTx" presStyleLbl="revTx" presStyleIdx="0" presStyleCnt="0">
        <dgm:presLayoutVars>
          <dgm:chMax val="1"/>
          <dgm:bulletEnabled val="1"/>
        </dgm:presLayoutVars>
      </dgm:prSet>
      <dgm:spPr/>
    </dgm:pt>
    <dgm:pt modelId="{94C0DEFF-C95C-314E-9042-168C68E40E5D}" type="pres">
      <dgm:prSet presAssocID="{647B3E15-9FBC-EF43-A5BF-0AF7B30FD33C}" presName="Name8" presStyleCnt="0"/>
      <dgm:spPr/>
    </dgm:pt>
    <dgm:pt modelId="{D93A783C-B4C6-4E4B-91E5-F2019A87FFA6}" type="pres">
      <dgm:prSet presAssocID="{647B3E15-9FBC-EF43-A5BF-0AF7B30FD33C}" presName="level" presStyleLbl="node1" presStyleIdx="3" presStyleCnt="4">
        <dgm:presLayoutVars>
          <dgm:chMax val="1"/>
          <dgm:bulletEnabled val="1"/>
        </dgm:presLayoutVars>
      </dgm:prSet>
      <dgm:spPr/>
    </dgm:pt>
    <dgm:pt modelId="{CDAA34BF-2EB4-0C44-BF4B-412C15007FE1}" type="pres">
      <dgm:prSet presAssocID="{647B3E15-9FBC-EF43-A5BF-0AF7B30FD33C}" presName="levelTx" presStyleLbl="revTx" presStyleIdx="0" presStyleCnt="0">
        <dgm:presLayoutVars>
          <dgm:chMax val="1"/>
          <dgm:bulletEnabled val="1"/>
        </dgm:presLayoutVars>
      </dgm:prSet>
      <dgm:spPr/>
    </dgm:pt>
  </dgm:ptLst>
  <dgm:cxnLst>
    <dgm:cxn modelId="{D3E6090B-F7A0-0246-AE4C-C35A1EDBDD95}" srcId="{77CFD15C-37E3-584D-B296-3D6F27493E15}" destId="{4763236E-6E72-0B45-A74A-5A9B71286E15}" srcOrd="0" destOrd="0" parTransId="{544EEC61-3470-764B-816F-A2173B9DF474}" sibTransId="{75B17F2C-081C-DF40-B412-EFD2A69B2658}"/>
    <dgm:cxn modelId="{EFFFE220-05D3-8940-B993-D7E7B5707DE2}" srcId="{77CFD15C-37E3-584D-B296-3D6F27493E15}" destId="{DAA10B15-CB94-5245-BD0C-B5F0C074F383}" srcOrd="1" destOrd="0" parTransId="{71A6FCD7-46F0-5246-85A8-971DD3F67B64}" sibTransId="{79AEB85B-52DA-9142-9018-8B17C02FA477}"/>
    <dgm:cxn modelId="{6EAA4F57-D99F-1948-8287-55B22C274688}" type="presOf" srcId="{4763236E-6E72-0B45-A74A-5A9B71286E15}" destId="{689965D5-0443-1C45-9FA5-469F3EB663AC}" srcOrd="1" destOrd="0" presId="urn:microsoft.com/office/officeart/2005/8/layout/pyramid1"/>
    <dgm:cxn modelId="{10E6D665-0875-3C47-BBEA-ADEB2F67FF5C}" type="presOf" srcId="{77CFD15C-37E3-584D-B296-3D6F27493E15}" destId="{AB3FB2EC-2055-5B4D-BB16-AE78FAA91D73}" srcOrd="0" destOrd="0" presId="urn:microsoft.com/office/officeart/2005/8/layout/pyramid1"/>
    <dgm:cxn modelId="{4CB5AA66-0851-EE4B-8D91-C5F8AD40B903}" type="presOf" srcId="{BA8091E7-2019-FC4A-BDEE-E12F18A3883C}" destId="{0F30B6A2-EFFD-1E42-85BA-FD29637FDEB5}" srcOrd="0" destOrd="0" presId="urn:microsoft.com/office/officeart/2005/8/layout/pyramid1"/>
    <dgm:cxn modelId="{2B009470-7C7E-7D47-B091-9CD39F536622}" type="presOf" srcId="{BA8091E7-2019-FC4A-BDEE-E12F18A3883C}" destId="{4FC80ECA-ADDD-6548-9ED6-BD436A077852}" srcOrd="1" destOrd="0" presId="urn:microsoft.com/office/officeart/2005/8/layout/pyramid1"/>
    <dgm:cxn modelId="{811FB071-A936-784D-90B9-140DEAE8C86F}" srcId="{77CFD15C-37E3-584D-B296-3D6F27493E15}" destId="{BA8091E7-2019-FC4A-BDEE-E12F18A3883C}" srcOrd="2" destOrd="0" parTransId="{B603B266-2CE5-7348-A3D2-C6B64EB55A7A}" sibTransId="{2B20E460-B501-8F43-9E35-6D679DFED455}"/>
    <dgm:cxn modelId="{96C16189-B73F-6743-BE3C-73ECDD9932B7}" type="presOf" srcId="{4763236E-6E72-0B45-A74A-5A9B71286E15}" destId="{69F65386-CF93-BE4B-A8E1-780A95A034D3}" srcOrd="0" destOrd="0" presId="urn:microsoft.com/office/officeart/2005/8/layout/pyramid1"/>
    <dgm:cxn modelId="{446A729E-C888-4A4F-9535-E26245AF4ECB}" type="presOf" srcId="{DAA10B15-CB94-5245-BD0C-B5F0C074F383}" destId="{271DEE21-AF5F-3042-93FE-53E682F36034}" srcOrd="1" destOrd="0" presId="urn:microsoft.com/office/officeart/2005/8/layout/pyramid1"/>
    <dgm:cxn modelId="{4FCA95A3-F0F1-2649-8EC9-C389858ACFCD}" type="presOf" srcId="{DAA10B15-CB94-5245-BD0C-B5F0C074F383}" destId="{C5D28E9F-105B-F54E-BB03-E90BAF13DB51}" srcOrd="0" destOrd="0" presId="urn:microsoft.com/office/officeart/2005/8/layout/pyramid1"/>
    <dgm:cxn modelId="{660D90B3-E0FF-444C-B40A-1CF8E554B5B2}" type="presOf" srcId="{647B3E15-9FBC-EF43-A5BF-0AF7B30FD33C}" destId="{CDAA34BF-2EB4-0C44-BF4B-412C15007FE1}" srcOrd="1" destOrd="0" presId="urn:microsoft.com/office/officeart/2005/8/layout/pyramid1"/>
    <dgm:cxn modelId="{E5B865D0-0478-DE4A-8303-CC274935DAA3}" type="presOf" srcId="{647B3E15-9FBC-EF43-A5BF-0AF7B30FD33C}" destId="{D93A783C-B4C6-4E4B-91E5-F2019A87FFA6}" srcOrd="0" destOrd="0" presId="urn:microsoft.com/office/officeart/2005/8/layout/pyramid1"/>
    <dgm:cxn modelId="{141E85E5-300A-3A43-A765-4884222D1EAD}" srcId="{77CFD15C-37E3-584D-B296-3D6F27493E15}" destId="{647B3E15-9FBC-EF43-A5BF-0AF7B30FD33C}" srcOrd="3" destOrd="0" parTransId="{B1CCA8BF-1DAE-9141-9C8B-D1541D74B1BB}" sibTransId="{99D80BFD-2918-6247-859F-5207BC304F1E}"/>
    <dgm:cxn modelId="{C25F266C-A58D-2B4D-B063-F1F1200F2CED}" type="presParOf" srcId="{AB3FB2EC-2055-5B4D-BB16-AE78FAA91D73}" destId="{802B54FA-6BE0-A343-A9AB-19CFDAACC20B}" srcOrd="0" destOrd="0" presId="urn:microsoft.com/office/officeart/2005/8/layout/pyramid1"/>
    <dgm:cxn modelId="{D66DC483-DFF9-EF48-9BEC-0F7CC87C1E14}" type="presParOf" srcId="{802B54FA-6BE0-A343-A9AB-19CFDAACC20B}" destId="{69F65386-CF93-BE4B-A8E1-780A95A034D3}" srcOrd="0" destOrd="0" presId="urn:microsoft.com/office/officeart/2005/8/layout/pyramid1"/>
    <dgm:cxn modelId="{EE67F26A-5745-6941-94B4-4F8B42E354A1}" type="presParOf" srcId="{802B54FA-6BE0-A343-A9AB-19CFDAACC20B}" destId="{689965D5-0443-1C45-9FA5-469F3EB663AC}" srcOrd="1" destOrd="0" presId="urn:microsoft.com/office/officeart/2005/8/layout/pyramid1"/>
    <dgm:cxn modelId="{7CABBF5E-D7DA-F649-859F-EC91A2A25DA7}" type="presParOf" srcId="{AB3FB2EC-2055-5B4D-BB16-AE78FAA91D73}" destId="{124B8ADD-6677-3D42-B8AC-1AB4A9821085}" srcOrd="1" destOrd="0" presId="urn:microsoft.com/office/officeart/2005/8/layout/pyramid1"/>
    <dgm:cxn modelId="{01B4646E-C100-4A46-A950-E7CF74EA11DB}" type="presParOf" srcId="{124B8ADD-6677-3D42-B8AC-1AB4A9821085}" destId="{C5D28E9F-105B-F54E-BB03-E90BAF13DB51}" srcOrd="0" destOrd="0" presId="urn:microsoft.com/office/officeart/2005/8/layout/pyramid1"/>
    <dgm:cxn modelId="{D146AF2F-24C9-DF47-B14D-DE401E8A7273}" type="presParOf" srcId="{124B8ADD-6677-3D42-B8AC-1AB4A9821085}" destId="{271DEE21-AF5F-3042-93FE-53E682F36034}" srcOrd="1" destOrd="0" presId="urn:microsoft.com/office/officeart/2005/8/layout/pyramid1"/>
    <dgm:cxn modelId="{8DDDD6F4-4BBA-B14B-A164-B0B5FDE3E1E8}" type="presParOf" srcId="{AB3FB2EC-2055-5B4D-BB16-AE78FAA91D73}" destId="{C03F2F4E-4809-144C-8360-FC539BEAFBE3}" srcOrd="2" destOrd="0" presId="urn:microsoft.com/office/officeart/2005/8/layout/pyramid1"/>
    <dgm:cxn modelId="{ECC85CA1-4462-6F41-B6BF-B8606104E8A1}" type="presParOf" srcId="{C03F2F4E-4809-144C-8360-FC539BEAFBE3}" destId="{0F30B6A2-EFFD-1E42-85BA-FD29637FDEB5}" srcOrd="0" destOrd="0" presId="urn:microsoft.com/office/officeart/2005/8/layout/pyramid1"/>
    <dgm:cxn modelId="{0B79E856-1227-8D4C-8F40-DA882CBDFE71}" type="presParOf" srcId="{C03F2F4E-4809-144C-8360-FC539BEAFBE3}" destId="{4FC80ECA-ADDD-6548-9ED6-BD436A077852}" srcOrd="1" destOrd="0" presId="urn:microsoft.com/office/officeart/2005/8/layout/pyramid1"/>
    <dgm:cxn modelId="{5EC452E5-46AC-C74B-87A8-5B718D557E15}" type="presParOf" srcId="{AB3FB2EC-2055-5B4D-BB16-AE78FAA91D73}" destId="{94C0DEFF-C95C-314E-9042-168C68E40E5D}" srcOrd="3" destOrd="0" presId="urn:microsoft.com/office/officeart/2005/8/layout/pyramid1"/>
    <dgm:cxn modelId="{22A32A29-09CE-4342-97BD-A45D5586835B}" type="presParOf" srcId="{94C0DEFF-C95C-314E-9042-168C68E40E5D}" destId="{D93A783C-B4C6-4E4B-91E5-F2019A87FFA6}" srcOrd="0" destOrd="0" presId="urn:microsoft.com/office/officeart/2005/8/layout/pyramid1"/>
    <dgm:cxn modelId="{23B674F1-71A7-8645-9178-DAEBF2C64DEB}" type="presParOf" srcId="{94C0DEFF-C95C-314E-9042-168C68E40E5D}" destId="{CDAA34BF-2EB4-0C44-BF4B-412C15007FE1}" srcOrd="1" destOrd="0" presId="urn:microsoft.com/office/officeart/2005/8/layout/pyramid1"/>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F65386-CF93-BE4B-A8E1-780A95A034D3}">
      <dsp:nvSpPr>
        <dsp:cNvPr id="0" name=""/>
        <dsp:cNvSpPr/>
      </dsp:nvSpPr>
      <dsp:spPr>
        <a:xfrm>
          <a:off x="1496395" y="0"/>
          <a:ext cx="997597" cy="701154"/>
        </a:xfrm>
        <a:prstGeom prst="trapezoid">
          <a:avLst>
            <a:gd name="adj" fmla="val 71140"/>
          </a:avLst>
        </a:prstGeom>
        <a:no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US" sz="1800" b="1" kern="1200" dirty="0"/>
        </a:p>
        <a:p>
          <a:pPr marL="0" lvl="0" indent="0" algn="ctr" defTabSz="800100">
            <a:lnSpc>
              <a:spcPct val="90000"/>
            </a:lnSpc>
            <a:spcBef>
              <a:spcPct val="0"/>
            </a:spcBef>
            <a:spcAft>
              <a:spcPct val="35000"/>
            </a:spcAft>
            <a:buNone/>
          </a:pPr>
          <a:r>
            <a:rPr lang="en-US" sz="1800" b="1" kern="1200" dirty="0"/>
            <a:t>SRAM</a:t>
          </a:r>
        </a:p>
      </dsp:txBody>
      <dsp:txXfrm>
        <a:off x="1496395" y="0"/>
        <a:ext cx="997597" cy="701154"/>
      </dsp:txXfrm>
    </dsp:sp>
    <dsp:sp modelId="{C5D28E9F-105B-F54E-BB03-E90BAF13DB51}">
      <dsp:nvSpPr>
        <dsp:cNvPr id="0" name=""/>
        <dsp:cNvSpPr/>
      </dsp:nvSpPr>
      <dsp:spPr>
        <a:xfrm>
          <a:off x="997597" y="701154"/>
          <a:ext cx="1995194" cy="701154"/>
        </a:xfrm>
        <a:prstGeom prst="trapezoid">
          <a:avLst>
            <a:gd name="adj" fmla="val 71140"/>
          </a:avLst>
        </a:prstGeom>
        <a:no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DRAM</a:t>
          </a:r>
        </a:p>
      </dsp:txBody>
      <dsp:txXfrm>
        <a:off x="1346756" y="701154"/>
        <a:ext cx="1296876" cy="701154"/>
      </dsp:txXfrm>
    </dsp:sp>
    <dsp:sp modelId="{0F30B6A2-EFFD-1E42-85BA-FD29637FDEB5}">
      <dsp:nvSpPr>
        <dsp:cNvPr id="0" name=""/>
        <dsp:cNvSpPr/>
      </dsp:nvSpPr>
      <dsp:spPr>
        <a:xfrm>
          <a:off x="498798" y="1402308"/>
          <a:ext cx="2992791" cy="701154"/>
        </a:xfrm>
        <a:prstGeom prst="trapezoid">
          <a:avLst>
            <a:gd name="adj" fmla="val 71140"/>
          </a:avLst>
        </a:prstGeom>
        <a:no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a:t>SSD</a:t>
          </a:r>
        </a:p>
      </dsp:txBody>
      <dsp:txXfrm>
        <a:off x="1022537" y="1402308"/>
        <a:ext cx="1945314" cy="701154"/>
      </dsp:txXfrm>
    </dsp:sp>
    <dsp:sp modelId="{D93A783C-B4C6-4E4B-91E5-F2019A87FFA6}">
      <dsp:nvSpPr>
        <dsp:cNvPr id="0" name=""/>
        <dsp:cNvSpPr/>
      </dsp:nvSpPr>
      <dsp:spPr>
        <a:xfrm>
          <a:off x="0" y="2103462"/>
          <a:ext cx="3990389" cy="701154"/>
        </a:xfrm>
        <a:prstGeom prst="trapezoid">
          <a:avLst>
            <a:gd name="adj" fmla="val 71140"/>
          </a:avLst>
        </a:prstGeom>
        <a:no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t>HDD</a:t>
          </a:r>
        </a:p>
      </dsp:txBody>
      <dsp:txXfrm>
        <a:off x="698318" y="2103462"/>
        <a:ext cx="2593752" cy="701154"/>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8EC177-E2E5-4455-82C1-178BA1878C75}" type="datetimeFigureOut">
              <a:rPr lang="en-US" smtClean="0"/>
              <a:t>11/27/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D04A1C-D9A7-450B-9BF6-70A1F0BFB355}" type="slidenum">
              <a:rPr lang="en-US" smtClean="0"/>
              <a:t>‹#›</a:t>
            </a:fld>
            <a:endParaRPr lang="en-US"/>
          </a:p>
        </p:txBody>
      </p:sp>
    </p:spTree>
    <p:extLst>
      <p:ext uri="{BB962C8B-B14F-4D97-AF65-F5344CB8AC3E}">
        <p14:creationId xmlns:p14="http://schemas.microsoft.com/office/powerpoint/2010/main" val="926439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D04A1C-D9A7-450B-9BF6-70A1F0BFB355}" type="slidenum">
              <a:rPr lang="en-US" smtClean="0"/>
              <a:t>1</a:t>
            </a:fld>
            <a:endParaRPr lang="en-US"/>
          </a:p>
        </p:txBody>
      </p:sp>
    </p:spTree>
    <p:extLst>
      <p:ext uri="{BB962C8B-B14F-4D97-AF65-F5344CB8AC3E}">
        <p14:creationId xmlns:p14="http://schemas.microsoft.com/office/powerpoint/2010/main" val="470607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D04A1C-D9A7-450B-9BF6-70A1F0BFB355}" type="slidenum">
              <a:rPr lang="en-US" smtClean="0"/>
              <a:t>5</a:t>
            </a:fld>
            <a:endParaRPr lang="en-US"/>
          </a:p>
        </p:txBody>
      </p:sp>
    </p:spTree>
    <p:extLst>
      <p:ext uri="{BB962C8B-B14F-4D97-AF65-F5344CB8AC3E}">
        <p14:creationId xmlns:p14="http://schemas.microsoft.com/office/powerpoint/2010/main" val="4237336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D04A1C-D9A7-450B-9BF6-70A1F0BFB355}" type="slidenum">
              <a:rPr lang="en-US" smtClean="0"/>
              <a:t>7</a:t>
            </a:fld>
            <a:endParaRPr lang="en-US"/>
          </a:p>
        </p:txBody>
      </p:sp>
    </p:spTree>
    <p:extLst>
      <p:ext uri="{BB962C8B-B14F-4D97-AF65-F5344CB8AC3E}">
        <p14:creationId xmlns:p14="http://schemas.microsoft.com/office/powerpoint/2010/main" val="17283153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D04A1C-D9A7-450B-9BF6-70A1F0BFB355}" type="slidenum">
              <a:rPr lang="en-US" smtClean="0"/>
              <a:t>10</a:t>
            </a:fld>
            <a:endParaRPr lang="en-US"/>
          </a:p>
        </p:txBody>
      </p:sp>
    </p:spTree>
    <p:extLst>
      <p:ext uri="{BB962C8B-B14F-4D97-AF65-F5344CB8AC3E}">
        <p14:creationId xmlns:p14="http://schemas.microsoft.com/office/powerpoint/2010/main" val="1606163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D04A1C-D9A7-450B-9BF6-70A1F0BFB355}" type="slidenum">
              <a:rPr lang="en-US" smtClean="0"/>
              <a:t>14</a:t>
            </a:fld>
            <a:endParaRPr lang="en-US"/>
          </a:p>
        </p:txBody>
      </p:sp>
    </p:spTree>
    <p:extLst>
      <p:ext uri="{BB962C8B-B14F-4D97-AF65-F5344CB8AC3E}">
        <p14:creationId xmlns:p14="http://schemas.microsoft.com/office/powerpoint/2010/main" val="4231652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0E5BA5E-AFF1-470A-B870-6AD250EE6C62}" type="slidenum">
              <a:rPr lang="en-US" smtClean="0"/>
              <a:pPr/>
              <a:t>16</a:t>
            </a:fld>
            <a:endParaRPr lang="en-US"/>
          </a:p>
        </p:txBody>
      </p:sp>
    </p:spTree>
    <p:extLst>
      <p:ext uri="{BB962C8B-B14F-4D97-AF65-F5344CB8AC3E}">
        <p14:creationId xmlns:p14="http://schemas.microsoft.com/office/powerpoint/2010/main" val="3507492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D04A1C-D9A7-450B-9BF6-70A1F0BFB355}" type="slidenum">
              <a:rPr lang="en-US" smtClean="0"/>
              <a:t>24</a:t>
            </a:fld>
            <a:endParaRPr lang="en-US"/>
          </a:p>
        </p:txBody>
      </p:sp>
    </p:spTree>
    <p:extLst>
      <p:ext uri="{BB962C8B-B14F-4D97-AF65-F5344CB8AC3E}">
        <p14:creationId xmlns:p14="http://schemas.microsoft.com/office/powerpoint/2010/main" val="239712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sng"/>
          </a:p>
          <a:p>
            <a:r>
              <a:rPr lang="en-US" u="sng"/>
              <a:t>Emulation, too</a:t>
            </a:r>
          </a:p>
          <a:p>
            <a:endParaRPr lang="en-US" u="sng"/>
          </a:p>
          <a:p>
            <a:r>
              <a:rPr lang="en-US" u="sng"/>
              <a:t>Speaker’s notes:</a:t>
            </a:r>
          </a:p>
          <a:p>
            <a:endParaRPr lang="en-US"/>
          </a:p>
          <a:p>
            <a:r>
              <a:rPr lang="en-US"/>
              <a:t>GSC </a:t>
            </a:r>
            <a:r>
              <a:rPr lang="en-US" b="1"/>
              <a:t>partners</a:t>
            </a:r>
            <a:r>
              <a:rPr lang="en-US"/>
              <a:t> closely with Design Engineering Group (DEG) and Intel Business Units on Electronic Design Automation tools, Silicon IP, Engineering R&amp;D design services, and Product Lab test &amp; measurement systems.</a:t>
            </a:r>
          </a:p>
          <a:p>
            <a:endParaRPr lang="en-US"/>
          </a:p>
          <a:p>
            <a:r>
              <a:rPr lang="en-US"/>
              <a:t>There are </a:t>
            </a:r>
            <a:r>
              <a:rPr lang="en-US" b="1"/>
              <a:t>3 key messages </a:t>
            </a:r>
            <a:r>
              <a:rPr lang="en-US"/>
              <a:t>in the design arena.  First, with the introduction of the 1277 process, GSC has worked with EDA suppliers to enable EDA for 1277.  This is a necessary shift in focus to make sure we have the right design tools, flows, and methods for 1277 technology.  Second, GSC is anticipating silicon IP outsourcing needs for Lunar Lake &amp; making sure we are ready to go once the make vs buy decision is made in 1Q21.  Third, GSC will be renewing major enterprise contracts with Synopsys (EDA, Silicon IP) and Cadence (EDA).  These are the largest contracts GSC manages for Intel design teams, and we are investing the effort to make sure the contracts meet our capability, capacity, and cost ambitions.</a:t>
            </a:r>
          </a:p>
          <a:p>
            <a:endParaRPr lang="en-US"/>
          </a:p>
          <a:p>
            <a:r>
              <a:rPr lang="en-US" b="1"/>
              <a:t>Highlights</a:t>
            </a:r>
            <a:r>
              <a:rPr lang="en-US" b="0"/>
              <a:t> for 4Q20 include completing the Design Technology Co-Optimization (DTCO) on Intel 5nm with Synopsys and Arm, and enabling EDA readiness for 1278 PDK 0.5 and 1277 PDK 0.1ES – this allows Intel design teams the capability and capacity for product development.  GSC managed the final contracts and statements of work (SoWs) for Meteor Lake SoC-M IPs, primarily with Synopsys.  Moreover, GSC delivered a forecasting system for 3</a:t>
            </a:r>
            <a:r>
              <a:rPr lang="en-US" b="0" baseline="30000"/>
              <a:t>rd</a:t>
            </a:r>
            <a:r>
              <a:rPr lang="en-US" b="0"/>
              <a:t> party IP (TULIP) that allows more control of our 3</a:t>
            </a:r>
            <a:r>
              <a:rPr lang="en-US" b="0" baseline="30000"/>
              <a:t>rd</a:t>
            </a:r>
            <a:r>
              <a:rPr lang="en-US" b="0"/>
              <a:t> party IP needs.  GSC established another design services center of excellence, joining a long list of cost-effective COEs that enable 3</a:t>
            </a:r>
            <a:r>
              <a:rPr lang="en-US" b="0" baseline="30000"/>
              <a:t>rd</a:t>
            </a:r>
            <a:r>
              <a:rPr lang="en-US" b="0"/>
              <a:t> party design services for Intel.  The Platform / Software COE is based in Poland.  Finally, the RDSE team within GSC achieved cost-savings exceeding the 2020 annual cost-savings target.  The </a:t>
            </a:r>
            <a:r>
              <a:rPr lang="en-US" b="1"/>
              <a:t>graphic on the right-hand-side</a:t>
            </a:r>
            <a:r>
              <a:rPr lang="en-US" b="0"/>
              <a:t> of the slide shows performance scores for the 9 outsource COEs – scores of ‘5’ indicate ‘delight’ as scored by our Intel business partners – COEs have proven to be a good investment for Intel in the design outsourcing arena.</a:t>
            </a:r>
          </a:p>
          <a:p>
            <a:endParaRPr lang="en-US" b="0"/>
          </a:p>
          <a:p>
            <a:r>
              <a:rPr lang="en-US" b="1"/>
              <a:t>Focus areas </a:t>
            </a:r>
            <a:r>
              <a:rPr lang="en-US" b="0"/>
              <a:t>for the design area include renewing the enterprise contracts that comprise approximately 60 percent of Intel’s 3</a:t>
            </a:r>
            <a:r>
              <a:rPr lang="en-US" b="0" baseline="30000"/>
              <a:t>rd</a:t>
            </a:r>
            <a:r>
              <a:rPr lang="en-US" b="0"/>
              <a:t> party IP and EDA spends.  Moreover, our Engineering R&amp;D teams are observing a tightening in the talent market in India.  This has similar characteristics to recent trends in China, where cities are starting to form into tiers.</a:t>
            </a:r>
          </a:p>
          <a:p>
            <a:endParaRPr lang="en-US" b="0"/>
          </a:p>
          <a:p>
            <a:r>
              <a:rPr lang="en-US" b="0"/>
              <a:t>As for </a:t>
            </a:r>
            <a:r>
              <a:rPr lang="en-US" b="1"/>
              <a:t>action plans,</a:t>
            </a:r>
            <a:r>
              <a:rPr lang="en-US" b="0"/>
              <a:t> GSC will continue to work closely with the Big 4 EDA suppliers – Synopsys, Cadence, Siemens EDA (formerly Mentor), and Ansys to assure access to the right design capabilities.  GSC will work closely with DEG to define the appropriate sourcing strategy for requisite 3</a:t>
            </a:r>
            <a:r>
              <a:rPr lang="en-US" b="0" baseline="30000"/>
              <a:t>rd</a:t>
            </a:r>
            <a:r>
              <a:rPr lang="en-US" b="0"/>
              <a:t> party IP.  GSC will continue to extend our outsource design engineering footprint toward TSMC N5 and N3, and Samsung foundry technologies.  Finally, this is a big year for changes to the product lab testing protocols, and GSC will ensure lab equipment readiness for a new generation of protocols.</a:t>
            </a:r>
            <a:endParaRPr lang="en-US" b="1"/>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A343CD-6AF8-47F8-A3AA-5C8853E114A6}" type="slidenum">
              <a:rPr kumimoji="0" lang="en-US" sz="1200" b="0" i="0" u="none" strike="noStrike" kern="1200" cap="none" spc="0" normalizeH="0" baseline="0" noProof="0" smtClean="0">
                <a:ln>
                  <a:noFill/>
                </a:ln>
                <a:solidFill>
                  <a:prstClr val="black"/>
                </a:solidFill>
                <a:effectLst/>
                <a:uLnTx/>
                <a:uFillTx/>
                <a:latin typeface="IntelOne Display Regular" panose="020B05030202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IntelOne Display Regular" panose="020B0503020203020204" pitchFamily="34" charset="0"/>
              <a:ea typeface="+mn-ea"/>
              <a:cs typeface="+mn-cs"/>
            </a:endParaRPr>
          </a:p>
        </p:txBody>
      </p:sp>
    </p:spTree>
    <p:extLst>
      <p:ext uri="{BB962C8B-B14F-4D97-AF65-F5344CB8AC3E}">
        <p14:creationId xmlns:p14="http://schemas.microsoft.com/office/powerpoint/2010/main" val="4519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06379"/>
            <a:ext cx="10363200" cy="1012825"/>
          </a:xfrm>
        </p:spPr>
        <p:txBody>
          <a:bodyPr/>
          <a:lstStyle>
            <a:lvl1pPr>
              <a:defRPr sz="4847"/>
            </a:lvl1pPr>
          </a:lstStyle>
          <a:p>
            <a:r>
              <a:rPr lang="en-US"/>
              <a:t>Click to edit Master title style</a:t>
            </a:r>
          </a:p>
        </p:txBody>
      </p:sp>
      <p:sp>
        <p:nvSpPr>
          <p:cNvPr id="3" name="Subtitle 2"/>
          <p:cNvSpPr>
            <a:spLocks noGrp="1"/>
          </p:cNvSpPr>
          <p:nvPr>
            <p:ph type="subTitle" idx="1"/>
          </p:nvPr>
        </p:nvSpPr>
        <p:spPr>
          <a:xfrm>
            <a:off x="1828800" y="1371600"/>
            <a:ext cx="8534400" cy="533401"/>
          </a:xfrm>
        </p:spPr>
        <p:txBody>
          <a:bodyPr/>
          <a:lstStyle>
            <a:lvl1pPr marL="0" indent="0" algn="ctr">
              <a:buFont typeface="Arial" pitchFamily="34" charset="0"/>
              <a:buNone/>
              <a:defRPr sz="2908" b="1"/>
            </a:lvl1pPr>
            <a:lvl2pPr marL="0" indent="0" algn="ctr">
              <a:buNone/>
              <a:defRPr sz="3878" baseline="30000"/>
            </a:lvl2pPr>
            <a:lvl3pPr marL="1108070" indent="0" algn="ctr">
              <a:buNone/>
              <a:defRPr/>
            </a:lvl3pPr>
            <a:lvl4pPr marL="1662105" indent="0" algn="ctr">
              <a:buNone/>
              <a:defRPr/>
            </a:lvl4pPr>
            <a:lvl5pPr marL="2216140" indent="0" algn="ctr">
              <a:buNone/>
              <a:defRPr/>
            </a:lvl5pPr>
            <a:lvl6pPr marL="2770175" indent="0" algn="ctr">
              <a:buNone/>
              <a:defRPr/>
            </a:lvl6pPr>
            <a:lvl7pPr marL="3324210" indent="0" algn="ctr">
              <a:buNone/>
              <a:defRPr/>
            </a:lvl7pPr>
            <a:lvl8pPr marL="3878245" indent="0" algn="ctr">
              <a:buNone/>
              <a:defRPr/>
            </a:lvl8pPr>
            <a:lvl9pPr marL="4432280" indent="0" algn="ctr">
              <a:buNone/>
              <a:defRPr/>
            </a:lvl9pPr>
          </a:lstStyle>
          <a:p>
            <a:pPr lvl="0"/>
            <a:r>
              <a:rPr lang="en-US"/>
              <a:t>Click to edit Master subtitle style</a:t>
            </a:r>
          </a:p>
        </p:txBody>
      </p:sp>
      <p:sp>
        <p:nvSpPr>
          <p:cNvPr id="4" name="Content Placeholder 2"/>
          <p:cNvSpPr>
            <a:spLocks noGrp="1"/>
          </p:cNvSpPr>
          <p:nvPr>
            <p:ph idx="10"/>
          </p:nvPr>
        </p:nvSpPr>
        <p:spPr>
          <a:xfrm>
            <a:off x="914400" y="2133600"/>
            <a:ext cx="10363200" cy="4267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0"/>
            <a:ext cx="4011084" cy="1162051"/>
          </a:xfrm>
        </p:spPr>
        <p:txBody>
          <a:bodyPr anchor="b"/>
          <a:lstStyle>
            <a:lvl1pPr algn="l">
              <a:defRPr sz="2424" b="1"/>
            </a:lvl1pPr>
          </a:lstStyle>
          <a:p>
            <a:r>
              <a:rPr lang="en-US"/>
              <a:t>Click to edit Master title style</a:t>
            </a:r>
          </a:p>
        </p:txBody>
      </p:sp>
      <p:sp>
        <p:nvSpPr>
          <p:cNvPr id="3" name="Content Placeholder 2"/>
          <p:cNvSpPr>
            <a:spLocks noGrp="1"/>
          </p:cNvSpPr>
          <p:nvPr>
            <p:ph idx="1"/>
          </p:nvPr>
        </p:nvSpPr>
        <p:spPr>
          <a:xfrm>
            <a:off x="4766734" y="273054"/>
            <a:ext cx="6815667" cy="5853112"/>
          </a:xfrm>
        </p:spPr>
        <p:txBody>
          <a:bodyPr/>
          <a:lstStyle>
            <a:lvl1pPr>
              <a:defRPr sz="3878"/>
            </a:lvl1pPr>
            <a:lvl2pPr>
              <a:defRPr sz="3393"/>
            </a:lvl2pPr>
            <a:lvl3pPr>
              <a:defRPr sz="2908"/>
            </a:lvl3pPr>
            <a:lvl4pPr>
              <a:defRPr sz="2424"/>
            </a:lvl4pPr>
            <a:lvl5pPr>
              <a:defRPr sz="2424"/>
            </a:lvl5pPr>
            <a:lvl6pPr>
              <a:defRPr sz="2424"/>
            </a:lvl6pPr>
            <a:lvl7pPr>
              <a:defRPr sz="2424"/>
            </a:lvl7pPr>
            <a:lvl8pPr>
              <a:defRPr sz="2424"/>
            </a:lvl8pPr>
            <a:lvl9pPr>
              <a:defRPr sz="24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697"/>
            </a:lvl1pPr>
            <a:lvl2pPr marL="554035" indent="0">
              <a:buNone/>
              <a:defRPr sz="1454"/>
            </a:lvl2pPr>
            <a:lvl3pPr marL="1108070" indent="0">
              <a:buNone/>
              <a:defRPr sz="1212"/>
            </a:lvl3pPr>
            <a:lvl4pPr marL="1662105" indent="0">
              <a:buNone/>
              <a:defRPr sz="1091"/>
            </a:lvl4pPr>
            <a:lvl5pPr marL="2216140" indent="0">
              <a:buNone/>
              <a:defRPr sz="1091"/>
            </a:lvl5pPr>
            <a:lvl6pPr marL="2770175" indent="0">
              <a:buNone/>
              <a:defRPr sz="1091"/>
            </a:lvl6pPr>
            <a:lvl7pPr marL="3324210" indent="0">
              <a:buNone/>
              <a:defRPr sz="1091"/>
            </a:lvl7pPr>
            <a:lvl8pPr marL="3878245" indent="0">
              <a:buNone/>
              <a:defRPr sz="1091"/>
            </a:lvl8pPr>
            <a:lvl9pPr marL="4432280" indent="0">
              <a:buNone/>
              <a:defRPr sz="1091"/>
            </a:lvl9pPr>
          </a:lstStyle>
          <a:p>
            <a:pPr lvl="0"/>
            <a:r>
              <a:rPr lang="en-US"/>
              <a:t>Click to 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424"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878"/>
            </a:lvl1pPr>
            <a:lvl2pPr marL="554035" indent="0">
              <a:buNone/>
              <a:defRPr sz="3393"/>
            </a:lvl2pPr>
            <a:lvl3pPr marL="1108070" indent="0">
              <a:buNone/>
              <a:defRPr sz="2908"/>
            </a:lvl3pPr>
            <a:lvl4pPr marL="1662105" indent="0">
              <a:buNone/>
              <a:defRPr sz="2424"/>
            </a:lvl4pPr>
            <a:lvl5pPr marL="2216140" indent="0">
              <a:buNone/>
              <a:defRPr sz="2424"/>
            </a:lvl5pPr>
            <a:lvl6pPr marL="2770175" indent="0">
              <a:buNone/>
              <a:defRPr sz="2424"/>
            </a:lvl6pPr>
            <a:lvl7pPr marL="3324210" indent="0">
              <a:buNone/>
              <a:defRPr sz="2424"/>
            </a:lvl7pPr>
            <a:lvl8pPr marL="3878245" indent="0">
              <a:buNone/>
              <a:defRPr sz="2424"/>
            </a:lvl8pPr>
            <a:lvl9pPr marL="4432280" indent="0">
              <a:buNone/>
              <a:defRPr sz="2424"/>
            </a:lvl9pPr>
          </a:lstStyle>
          <a:p>
            <a:r>
              <a:rPr lang="en-US"/>
              <a:t>Click icon to add picture</a:t>
            </a:r>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697"/>
            </a:lvl1pPr>
            <a:lvl2pPr marL="554035" indent="0">
              <a:buNone/>
              <a:defRPr sz="1454"/>
            </a:lvl2pPr>
            <a:lvl3pPr marL="1108070" indent="0">
              <a:buNone/>
              <a:defRPr sz="1212"/>
            </a:lvl3pPr>
            <a:lvl4pPr marL="1662105" indent="0">
              <a:buNone/>
              <a:defRPr sz="1091"/>
            </a:lvl4pPr>
            <a:lvl5pPr marL="2216140" indent="0">
              <a:buNone/>
              <a:defRPr sz="1091"/>
            </a:lvl5pPr>
            <a:lvl6pPr marL="2770175" indent="0">
              <a:buNone/>
              <a:defRPr sz="1091"/>
            </a:lvl6pPr>
            <a:lvl7pPr marL="3324210" indent="0">
              <a:buNone/>
              <a:defRPr sz="1091"/>
            </a:lvl7pPr>
            <a:lvl8pPr marL="3878245" indent="0">
              <a:buNone/>
              <a:defRPr sz="1091"/>
            </a:lvl8pPr>
            <a:lvl9pPr marL="4432280" indent="0">
              <a:buNone/>
              <a:defRPr sz="1091"/>
            </a:lvl9pPr>
          </a:lstStyle>
          <a:p>
            <a:pPr lvl="0"/>
            <a:r>
              <a:rPr lang="en-US"/>
              <a:t>Click to 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152399"/>
            <a:ext cx="2590800" cy="5943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152399"/>
            <a:ext cx="7569200" cy="5943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859903" y="6432516"/>
            <a:ext cx="2844800" cy="365125"/>
          </a:xfrm>
          <a:prstGeom prst="rect">
            <a:avLst/>
          </a:prstGeom>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p>
            <a:r>
              <a:rPr lang="en-US"/>
              <a:t>Intel Confidential</a:t>
            </a:r>
          </a:p>
        </p:txBody>
      </p:sp>
      <p:sp>
        <p:nvSpPr>
          <p:cNvPr id="6" name="Slide Number Placeholder 5"/>
          <p:cNvSpPr>
            <a:spLocks noGrp="1"/>
          </p:cNvSpPr>
          <p:nvPr>
            <p:ph type="sldNum" sz="quarter" idx="12"/>
          </p:nvPr>
        </p:nvSpPr>
        <p:spPr/>
        <p:txBody>
          <a:bodyPr/>
          <a:lstStyle/>
          <a:p>
            <a:fld id="{64036575-A017-439A-8AA0-94A9B276CEB1}" type="slidenum">
              <a:rPr lang="en-US" smtClean="0"/>
              <a:t>‹#›</a:t>
            </a:fld>
            <a:endParaRPr lang="en-US"/>
          </a:p>
        </p:txBody>
      </p:sp>
      <p:sp>
        <p:nvSpPr>
          <p:cNvPr id="7" name="Title 6"/>
          <p:cNvSpPr>
            <a:spLocks noGrp="1"/>
          </p:cNvSpPr>
          <p:nvPr>
            <p:ph type="title" hasCustomPrompt="1"/>
          </p:nvPr>
        </p:nvSpPr>
        <p:spPr/>
        <p:txBody>
          <a:bodyPr/>
          <a:lstStyle>
            <a:lvl1pPr>
              <a:defRPr/>
            </a:lvl1pPr>
          </a:lstStyle>
          <a:p>
            <a:r>
              <a:rPr lang="en-US" err="1"/>
              <a:t>28pt</a:t>
            </a:r>
            <a:r>
              <a:rPr lang="en-US"/>
              <a:t> Intel Clear Light Headline</a:t>
            </a:r>
          </a:p>
        </p:txBody>
      </p:sp>
      <p:sp>
        <p:nvSpPr>
          <p:cNvPr id="8" name="Content Placeholder 7"/>
          <p:cNvSpPr>
            <a:spLocks noGrp="1"/>
          </p:cNvSpPr>
          <p:nvPr>
            <p:ph sz="quarter" idx="13" hasCustomPrompt="1"/>
          </p:nvPr>
        </p:nvSpPr>
        <p:spPr>
          <a:xfrm>
            <a:off x="607485" y="1604435"/>
            <a:ext cx="10970683" cy="4567767"/>
          </a:xfrm>
        </p:spPr>
        <p:txBody>
          <a:bodyPr/>
          <a:lstStyle/>
          <a:p>
            <a:pPr lvl="0"/>
            <a:r>
              <a:rPr lang="en-US"/>
              <a:t>18pt Intel Clear body text</a:t>
            </a:r>
          </a:p>
          <a:p>
            <a:pPr lvl="1"/>
            <a:r>
              <a:rPr lang="en-US"/>
              <a:t>16pt Intel Clear bullet one</a:t>
            </a:r>
          </a:p>
          <a:p>
            <a:pPr lvl="2"/>
            <a:r>
              <a:rPr lang="en-US"/>
              <a:t>16pt Intel Clear sub-bullet</a:t>
            </a:r>
          </a:p>
          <a:p>
            <a:pPr lvl="3"/>
            <a:r>
              <a:rPr lang="en-US" err="1"/>
              <a:t>14pt</a:t>
            </a:r>
            <a:r>
              <a:rPr lang="en-US"/>
              <a:t> Intel Clear fourth level</a:t>
            </a:r>
          </a:p>
          <a:p>
            <a:pPr lvl="4"/>
            <a:r>
              <a:rPr lang="en-US" err="1"/>
              <a:t>14pt</a:t>
            </a:r>
            <a:r>
              <a:rPr lang="en-US"/>
              <a:t> Intel Clear fifth level</a:t>
            </a:r>
          </a:p>
        </p:txBody>
      </p:sp>
    </p:spTree>
    <p:extLst>
      <p:ext uri="{BB962C8B-B14F-4D97-AF65-F5344CB8AC3E}">
        <p14:creationId xmlns:p14="http://schemas.microsoft.com/office/powerpoint/2010/main" val="16815562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512064"/>
            <a:ext cx="10363200" cy="615400"/>
          </a:xfrm>
        </p:spPr>
        <p:txBody>
          <a:bodyPr anchor="ctr"/>
          <a:lstStyle>
            <a:lvl1pPr>
              <a:defRPr sz="3600" b="1" spc="0" baseline="0">
                <a:latin typeface="Calibri" panose="020F0502020204030204" pitchFamily="34" charset="0"/>
                <a:cs typeface="Calibri" panose="020F0502020204030204" pitchFamily="34" charset="0"/>
              </a:defRPr>
            </a:lvl1pPr>
          </a:lstStyle>
          <a:p>
            <a:r>
              <a:rPr kumimoji="0" lang="en-US"/>
              <a:t>Click to edit Master title style</a:t>
            </a:r>
          </a:p>
        </p:txBody>
      </p:sp>
      <p:sp>
        <p:nvSpPr>
          <p:cNvPr id="3" name="Content Placeholder 2"/>
          <p:cNvSpPr>
            <a:spLocks noGrp="1"/>
          </p:cNvSpPr>
          <p:nvPr>
            <p:ph idx="1"/>
          </p:nvPr>
        </p:nvSpPr>
        <p:spPr>
          <a:xfrm>
            <a:off x="1219201" y="1180112"/>
            <a:ext cx="10363200" cy="5175449"/>
          </a:xfrm>
        </p:spPr>
        <p:txBody>
          <a:bodyPr>
            <a:normAutofit/>
          </a:bodyPr>
          <a:lstStyle>
            <a:lvl1pPr>
              <a:defRPr sz="3200" spc="0" baseline="0">
                <a:latin typeface="Calibri" panose="020F0502020204030204" pitchFamily="34" charset="0"/>
                <a:cs typeface="Calibri" panose="020F0502020204030204" pitchFamily="34" charset="0"/>
              </a:defRPr>
            </a:lvl1pPr>
            <a:lvl2pPr>
              <a:defRPr sz="2800" spc="0" baseline="0">
                <a:latin typeface="Calibri" panose="020F0502020204030204" pitchFamily="34" charset="0"/>
                <a:cs typeface="Calibri" panose="020F0502020204030204" pitchFamily="34" charset="0"/>
              </a:defRPr>
            </a:lvl2pPr>
            <a:lvl3pPr>
              <a:defRPr sz="2800">
                <a:latin typeface="Calibri" panose="020F0502020204030204" pitchFamily="34" charset="0"/>
                <a:cs typeface="Calibri" panose="020F0502020204030204" pitchFamily="34" charset="0"/>
              </a:defRPr>
            </a:lvl3pPr>
            <a:lvl4pPr>
              <a:defRPr sz="2400">
                <a:latin typeface="Calibri" panose="020F0502020204030204" pitchFamily="34" charset="0"/>
                <a:cs typeface="Calibri" panose="020F0502020204030204" pitchFamily="34" charset="0"/>
              </a:defRPr>
            </a:lvl4pPr>
            <a:lvl5pPr>
              <a:defRPr sz="2400">
                <a:latin typeface="Calibri" panose="020F0502020204030204" pitchFamily="34" charset="0"/>
                <a:cs typeface="Calibri" panose="020F0502020204030204" pitchFamily="34" charset="0"/>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extLst>
      <p:ext uri="{BB962C8B-B14F-4D97-AF65-F5344CB8AC3E}">
        <p14:creationId xmlns:p14="http://schemas.microsoft.com/office/powerpoint/2010/main" val="33018069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p:nvPr>
        </p:nvSpPr>
        <p:spPr>
          <a:xfrm>
            <a:off x="381000" y="221694"/>
            <a:ext cx="10972800" cy="1199822"/>
          </a:xfrm>
        </p:spPr>
        <p:txBody>
          <a:bodyPr>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p:nvPr>
        </p:nvSpPr>
        <p:spPr>
          <a:xfrm>
            <a:off x="381000" y="2110067"/>
            <a:ext cx="10972800" cy="40842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C827E3-834F-40BA-9518-B0648BD536F2}"/>
              </a:ext>
            </a:extLst>
          </p:cNvPr>
          <p:cNvSpPr>
            <a:spLocks noGrp="1"/>
          </p:cNvSpPr>
          <p:nvPr>
            <p:ph type="body" sz="quarter" idx="10"/>
          </p:nvPr>
        </p:nvSpPr>
        <p:spPr>
          <a:xfrm>
            <a:off x="381000" y="1494289"/>
            <a:ext cx="10972800" cy="525462"/>
          </a:xfrm>
        </p:spPr>
        <p:txBody>
          <a:bodyPr>
            <a:noAutofit/>
          </a:bodyPr>
          <a:lstStyle>
            <a:lvl1pPr marL="0" indent="0">
              <a:buFontTx/>
              <a:buNone/>
              <a:defRPr sz="3200">
                <a:solidFill>
                  <a:schemeClr val="accent2"/>
                </a:solidFill>
                <a:latin typeface="+mn-lt"/>
              </a:defRPr>
            </a:lvl1pPr>
          </a:lstStyle>
          <a:p>
            <a:pPr lvl="0"/>
            <a:r>
              <a:rPr lang="en-US"/>
              <a:t>Click to edit Master text styles</a:t>
            </a:r>
          </a:p>
        </p:txBody>
      </p:sp>
    </p:spTree>
    <p:extLst>
      <p:ext uri="{BB962C8B-B14F-4D97-AF65-F5344CB8AC3E}">
        <p14:creationId xmlns:p14="http://schemas.microsoft.com/office/powerpoint/2010/main" val="143370722"/>
      </p:ext>
    </p:extLst>
  </p:cSld>
  <p:clrMapOvr>
    <a:masterClrMapping/>
  </p:clrMapOvr>
  <p:extLst>
    <p:ext uri="{DCECCB84-F9BA-43D5-87BE-67443E8EF086}">
      <p15:sldGuideLst xmlns:p15="http://schemas.microsoft.com/office/powerpoint/2012/main">
        <p15:guide id="1" orient="horz" pos="2160">
          <p15:clr>
            <a:srgbClr val="FBAE40"/>
          </p15:clr>
        </p15:guide>
        <p15:guide id="2" pos="240">
          <p15:clr>
            <a:srgbClr val="FBAE40"/>
          </p15:clr>
        </p15:guide>
        <p15:guide id="3" pos="715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p:nvPr>
        </p:nvSpPr>
        <p:spPr>
          <a:xfrm>
            <a:off x="380999" y="2105680"/>
            <a:ext cx="5429865" cy="40957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p:nvPr>
        </p:nvSpPr>
        <p:spPr>
          <a:xfrm>
            <a:off x="5923935" y="2105680"/>
            <a:ext cx="5429865" cy="40957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5C66EBB2-584E-4CD8-BAAE-06D480D3A0CB}"/>
              </a:ext>
            </a:extLst>
          </p:cNvPr>
          <p:cNvSpPr>
            <a:spLocks noGrp="1"/>
          </p:cNvSpPr>
          <p:nvPr>
            <p:ph type="body" sz="quarter" idx="10"/>
          </p:nvPr>
        </p:nvSpPr>
        <p:spPr>
          <a:xfrm>
            <a:off x="381000" y="1495361"/>
            <a:ext cx="10972800" cy="530454"/>
          </a:xfrm>
        </p:spPr>
        <p:txBody>
          <a:bodyPr>
            <a:noAutofit/>
          </a:bodyPr>
          <a:lstStyle>
            <a:lvl1pPr marL="0" indent="0">
              <a:buNone/>
              <a:defRPr sz="3200">
                <a:solidFill>
                  <a:schemeClr val="accent2"/>
                </a:solidFill>
                <a:latin typeface="+mn-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12677803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p:nvPr>
        </p:nvSpPr>
        <p:spPr>
          <a:xfrm>
            <a:off x="380999" y="1496292"/>
            <a:ext cx="5429865" cy="4686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p:nvPr>
        </p:nvSpPr>
        <p:spPr>
          <a:xfrm>
            <a:off x="5923935" y="1496292"/>
            <a:ext cx="5429865" cy="4686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7914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 Content &amp; 2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p:nvPr>
        </p:nvSpPr>
        <p:spPr>
          <a:xfrm>
            <a:off x="381000" y="221694"/>
            <a:ext cx="5429864" cy="1199822"/>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p:nvPr>
        </p:nvSpPr>
        <p:spPr>
          <a:xfrm>
            <a:off x="380999" y="2105680"/>
            <a:ext cx="5429865" cy="40957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5C66EBB2-584E-4CD8-BAAE-06D480D3A0CB}"/>
              </a:ext>
            </a:extLst>
          </p:cNvPr>
          <p:cNvSpPr>
            <a:spLocks noGrp="1"/>
          </p:cNvSpPr>
          <p:nvPr>
            <p:ph type="body" sz="quarter" idx="10"/>
          </p:nvPr>
        </p:nvSpPr>
        <p:spPr>
          <a:xfrm>
            <a:off x="381000" y="1495361"/>
            <a:ext cx="5429864" cy="530454"/>
          </a:xfrm>
        </p:spPr>
        <p:txBody>
          <a:bodyPr>
            <a:noAutofit/>
          </a:bodyPr>
          <a:lstStyle>
            <a:lvl1pPr marL="0" indent="0">
              <a:buNone/>
              <a:defRPr sz="3200">
                <a:solidFill>
                  <a:schemeClr val="accent2"/>
                </a:solidFill>
                <a:latin typeface="+mn-lt"/>
              </a:defRPr>
            </a:lvl1pPr>
            <a:lvl2pPr marL="457200" indent="0">
              <a:buNone/>
              <a:defRPr/>
            </a:lvl2pPr>
          </a:lstStyle>
          <a:p>
            <a:pPr lvl="0"/>
            <a:r>
              <a:rPr lang="en-US"/>
              <a:t>Click to edit Master text styles</a:t>
            </a:r>
          </a:p>
        </p:txBody>
      </p:sp>
      <p:sp>
        <p:nvSpPr>
          <p:cNvPr id="7" name="Picture Placeholder 6">
            <a:extLst>
              <a:ext uri="{FF2B5EF4-FFF2-40B4-BE49-F238E27FC236}">
                <a16:creationId xmlns:a16="http://schemas.microsoft.com/office/drawing/2014/main" id="{BF6811E0-242E-4455-9E93-6248E7DEDA0B}"/>
              </a:ext>
            </a:extLst>
          </p:cNvPr>
          <p:cNvSpPr>
            <a:spLocks noGrp="1"/>
          </p:cNvSpPr>
          <p:nvPr>
            <p:ph type="pic" sz="quarter" idx="11"/>
          </p:nvPr>
        </p:nvSpPr>
        <p:spPr>
          <a:xfrm>
            <a:off x="5926394" y="230287"/>
            <a:ext cx="5429250" cy="2410686"/>
          </a:xfrm>
        </p:spPr>
        <p:txBody>
          <a:bodyPr/>
          <a:lstStyle>
            <a:lvl1pPr marL="0" indent="0">
              <a:buNone/>
              <a:defRPr/>
            </a:lvl1pPr>
          </a:lstStyle>
          <a:p>
            <a:endParaRPr lang="en-US"/>
          </a:p>
        </p:txBody>
      </p:sp>
      <p:sp>
        <p:nvSpPr>
          <p:cNvPr id="9" name="Text Placeholder 8">
            <a:extLst>
              <a:ext uri="{FF2B5EF4-FFF2-40B4-BE49-F238E27FC236}">
                <a16:creationId xmlns:a16="http://schemas.microsoft.com/office/drawing/2014/main" id="{49775C37-EE38-450C-8269-79E50F8E88A0}"/>
              </a:ext>
            </a:extLst>
          </p:cNvPr>
          <p:cNvSpPr>
            <a:spLocks noGrp="1"/>
          </p:cNvSpPr>
          <p:nvPr>
            <p:ph type="body" sz="quarter" idx="12"/>
          </p:nvPr>
        </p:nvSpPr>
        <p:spPr>
          <a:xfrm>
            <a:off x="5926138" y="2655075"/>
            <a:ext cx="5429250" cy="470063"/>
          </a:xfrm>
        </p:spPr>
        <p:txBody>
          <a:bodyPr>
            <a:normAutofit/>
          </a:bodyPr>
          <a:lstStyle>
            <a:lvl1pPr marL="0" indent="0">
              <a:buNone/>
              <a:defRPr sz="1600">
                <a:solidFill>
                  <a:schemeClr val="tx1"/>
                </a:solidFill>
              </a:defRPr>
            </a:lvl1pPr>
            <a:lvl2pPr marL="457200" indent="0">
              <a:buNone/>
              <a:defRPr/>
            </a:lvl2pPr>
          </a:lstStyle>
          <a:p>
            <a:pPr lvl="0"/>
            <a:r>
              <a:rPr lang="en-US"/>
              <a:t>Click to edit Master text styles</a:t>
            </a:r>
          </a:p>
        </p:txBody>
      </p:sp>
      <p:sp>
        <p:nvSpPr>
          <p:cNvPr id="10" name="Picture Placeholder 6">
            <a:extLst>
              <a:ext uri="{FF2B5EF4-FFF2-40B4-BE49-F238E27FC236}">
                <a16:creationId xmlns:a16="http://schemas.microsoft.com/office/drawing/2014/main" id="{7DC24117-8044-4F60-A59D-9F61002D6C8C}"/>
              </a:ext>
            </a:extLst>
          </p:cNvPr>
          <p:cNvSpPr>
            <a:spLocks noGrp="1"/>
          </p:cNvSpPr>
          <p:nvPr>
            <p:ph type="pic" sz="quarter" idx="13"/>
          </p:nvPr>
        </p:nvSpPr>
        <p:spPr>
          <a:xfrm>
            <a:off x="5924550" y="3331781"/>
            <a:ext cx="5429250" cy="2410686"/>
          </a:xfrm>
        </p:spPr>
        <p:txBody>
          <a:bodyPr/>
          <a:lstStyle>
            <a:lvl1pPr marL="0" indent="0">
              <a:buNone/>
              <a:defRPr/>
            </a:lvl1pPr>
          </a:lstStyle>
          <a:p>
            <a:endParaRPr lang="en-US"/>
          </a:p>
        </p:txBody>
      </p:sp>
      <p:sp>
        <p:nvSpPr>
          <p:cNvPr id="11" name="Text Placeholder 8">
            <a:extLst>
              <a:ext uri="{FF2B5EF4-FFF2-40B4-BE49-F238E27FC236}">
                <a16:creationId xmlns:a16="http://schemas.microsoft.com/office/drawing/2014/main" id="{205F9606-8CF6-4C56-B2B6-E8A04B25F11E}"/>
              </a:ext>
            </a:extLst>
          </p:cNvPr>
          <p:cNvSpPr>
            <a:spLocks noGrp="1"/>
          </p:cNvSpPr>
          <p:nvPr>
            <p:ph type="body" sz="quarter" idx="14"/>
          </p:nvPr>
        </p:nvSpPr>
        <p:spPr>
          <a:xfrm>
            <a:off x="5924294" y="5767077"/>
            <a:ext cx="5429250" cy="470063"/>
          </a:xfrm>
        </p:spPr>
        <p:txBody>
          <a:bodyPr>
            <a:normAutofit/>
          </a:bodyPr>
          <a:lstStyle>
            <a:lvl1pPr marL="0" indent="0">
              <a:buNone/>
              <a:defRPr sz="1600">
                <a:solidFill>
                  <a:schemeClr val="tx1"/>
                </a:solidFill>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723275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 Content &amp; 1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p:nvPr>
        </p:nvSpPr>
        <p:spPr>
          <a:xfrm>
            <a:off x="381000" y="221694"/>
            <a:ext cx="5429864" cy="1199822"/>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p:nvPr>
        </p:nvSpPr>
        <p:spPr>
          <a:xfrm>
            <a:off x="380999" y="2105680"/>
            <a:ext cx="5429865" cy="40957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5C66EBB2-584E-4CD8-BAAE-06D480D3A0CB}"/>
              </a:ext>
            </a:extLst>
          </p:cNvPr>
          <p:cNvSpPr>
            <a:spLocks noGrp="1"/>
          </p:cNvSpPr>
          <p:nvPr>
            <p:ph type="body" sz="quarter" idx="10"/>
          </p:nvPr>
        </p:nvSpPr>
        <p:spPr>
          <a:xfrm>
            <a:off x="381000" y="1495361"/>
            <a:ext cx="5429864" cy="530454"/>
          </a:xfrm>
        </p:spPr>
        <p:txBody>
          <a:bodyPr>
            <a:noAutofit/>
          </a:bodyPr>
          <a:lstStyle>
            <a:lvl1pPr marL="0" indent="0">
              <a:buNone/>
              <a:defRPr sz="3200">
                <a:solidFill>
                  <a:schemeClr val="accent2"/>
                </a:solidFill>
                <a:latin typeface="+mn-lt"/>
              </a:defRPr>
            </a:lvl1pPr>
            <a:lvl2pPr marL="457200" indent="0">
              <a:buNone/>
              <a:defRPr/>
            </a:lvl2pPr>
          </a:lstStyle>
          <a:p>
            <a:pPr lvl="0"/>
            <a:r>
              <a:rPr lang="en-US"/>
              <a:t>Click to edit Master text styles</a:t>
            </a:r>
          </a:p>
        </p:txBody>
      </p:sp>
      <p:sp>
        <p:nvSpPr>
          <p:cNvPr id="7" name="Picture Placeholder 6">
            <a:extLst>
              <a:ext uri="{FF2B5EF4-FFF2-40B4-BE49-F238E27FC236}">
                <a16:creationId xmlns:a16="http://schemas.microsoft.com/office/drawing/2014/main" id="{BF6811E0-242E-4455-9E93-6248E7DEDA0B}"/>
              </a:ext>
            </a:extLst>
          </p:cNvPr>
          <p:cNvSpPr>
            <a:spLocks noGrp="1"/>
          </p:cNvSpPr>
          <p:nvPr>
            <p:ph type="pic" sz="quarter" idx="11"/>
          </p:nvPr>
        </p:nvSpPr>
        <p:spPr>
          <a:xfrm>
            <a:off x="5926394" y="0"/>
            <a:ext cx="5808406" cy="6400799"/>
          </a:xfrm>
        </p:spPr>
        <p:txBody>
          <a:bodyPr/>
          <a:lstStyle>
            <a:lvl1pPr marL="0" indent="0">
              <a:buNone/>
              <a:defRPr/>
            </a:lvl1pPr>
          </a:lstStyle>
          <a:p>
            <a:endParaRPr lang="en-US"/>
          </a:p>
        </p:txBody>
      </p:sp>
    </p:spTree>
    <p:extLst>
      <p:ext uri="{BB962C8B-B14F-4D97-AF65-F5344CB8AC3E}">
        <p14:creationId xmlns:p14="http://schemas.microsoft.com/office/powerpoint/2010/main" val="1997688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age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F6811E0-242E-4455-9E93-6248E7DEDA0B}"/>
              </a:ext>
            </a:extLst>
          </p:cNvPr>
          <p:cNvSpPr>
            <a:spLocks noGrp="1"/>
          </p:cNvSpPr>
          <p:nvPr>
            <p:ph type="pic" sz="quarter" idx="11"/>
          </p:nvPr>
        </p:nvSpPr>
        <p:spPr>
          <a:xfrm>
            <a:off x="0" y="0"/>
            <a:ext cx="11734800" cy="6400799"/>
          </a:xfrm>
        </p:spPr>
        <p:txBody>
          <a:bodyPr/>
          <a:lstStyle>
            <a:lvl1pPr marL="0" indent="0">
              <a:buNone/>
              <a:defRPr/>
            </a:lvl1pPr>
          </a:lstStyle>
          <a:p>
            <a:endParaRPr lang="en-US"/>
          </a:p>
        </p:txBody>
      </p:sp>
    </p:spTree>
    <p:extLst>
      <p:ext uri="{BB962C8B-B14F-4D97-AF65-F5344CB8AC3E}">
        <p14:creationId xmlns:p14="http://schemas.microsoft.com/office/powerpoint/2010/main" val="28194608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p:nvPr>
        </p:nvSpPr>
        <p:spPr>
          <a:xfrm>
            <a:off x="381000" y="1441833"/>
            <a:ext cx="10972800" cy="4241800"/>
          </a:xfrm>
        </p:spPr>
        <p:txBody>
          <a:bodyPr>
            <a:normAutofit/>
          </a:bodyPr>
          <a:lstStyle>
            <a:lvl1pPr marL="0" indent="0">
              <a:buNone/>
              <a:defRPr sz="6000">
                <a:solidFill>
                  <a:schemeClr val="tx1"/>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874C57F0-3964-4184-8486-C7C3D87AEA3B}"/>
              </a:ext>
            </a:extLst>
          </p:cNvPr>
          <p:cNvSpPr>
            <a:spLocks noGrp="1"/>
          </p:cNvSpPr>
          <p:nvPr>
            <p:ph type="body" sz="quarter" idx="11"/>
          </p:nvPr>
        </p:nvSpPr>
        <p:spPr>
          <a:xfrm>
            <a:off x="381000" y="5757203"/>
            <a:ext cx="10972800" cy="501650"/>
          </a:xfrm>
        </p:spPr>
        <p:txBody>
          <a:bodyPr/>
          <a:lstStyle>
            <a:lvl1pPr marL="0" indent="0">
              <a:buNone/>
              <a:defRPr>
                <a:solidFill>
                  <a:schemeClr val="accent2"/>
                </a:solidFill>
                <a:latin typeface="+mn-lt"/>
              </a:defRPr>
            </a:lvl1pPr>
          </a:lstStyle>
          <a:p>
            <a:pPr lvl="0"/>
            <a:r>
              <a:rPr lang="en-US"/>
              <a:t>Click to edit Master text styles</a:t>
            </a:r>
          </a:p>
        </p:txBody>
      </p:sp>
    </p:spTree>
    <p:extLst>
      <p:ext uri="{BB962C8B-B14F-4D97-AF65-F5344CB8AC3E}">
        <p14:creationId xmlns:p14="http://schemas.microsoft.com/office/powerpoint/2010/main" val="9637990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gu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p:nvPr>
        </p:nvSpPr>
        <p:spPr>
          <a:xfrm>
            <a:off x="381000" y="2229178"/>
            <a:ext cx="10972800" cy="1199822"/>
          </a:xfrm>
        </p:spPr>
        <p:txBody>
          <a:bodyPr anchor="b" anchorCtr="0">
            <a:normAutofit/>
          </a:bodyPr>
          <a:lstStyle>
            <a:lvl1pPr>
              <a:defRPr sz="4800"/>
            </a:lvl1pPr>
          </a:lstStyle>
          <a:p>
            <a:r>
              <a:rPr lang="en-US"/>
              <a:t>Click to edit Master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p:nvPr>
        </p:nvSpPr>
        <p:spPr>
          <a:xfrm>
            <a:off x="381000" y="3449317"/>
            <a:ext cx="10972800" cy="681935"/>
          </a:xfrm>
        </p:spPr>
        <p:txBody>
          <a:bodyPr>
            <a:normAutofit/>
          </a:bodyPr>
          <a:lstStyle>
            <a:lvl1pPr marL="0" indent="0">
              <a:buNone/>
              <a:defRPr sz="2800">
                <a:solidFill>
                  <a:schemeClr val="accent2"/>
                </a:solidFill>
                <a:latin typeface="+mn-lt"/>
              </a:defRPr>
            </a:lvl1pPr>
          </a:lstStyle>
          <a:p>
            <a:pPr lvl="0"/>
            <a:r>
              <a:rPr lang="en-US"/>
              <a:t>Click to edit Master text styles</a:t>
            </a:r>
          </a:p>
        </p:txBody>
      </p:sp>
    </p:spTree>
    <p:extLst>
      <p:ext uri="{BB962C8B-B14F-4D97-AF65-F5344CB8AC3E}">
        <p14:creationId xmlns:p14="http://schemas.microsoft.com/office/powerpoint/2010/main" val="1873203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4" name="Rectangle 23"/>
          <p:cNvSpPr/>
          <p:nvPr userDrawn="1"/>
        </p:nvSpPr>
        <p:spPr>
          <a:xfrm>
            <a:off x="120073" y="776330"/>
            <a:ext cx="10871200" cy="316112"/>
          </a:xfrm>
          <a:prstGeom prst="rect">
            <a:avLst/>
          </a:prstGeom>
        </p:spPr>
        <p:txBody>
          <a:bodyPr wrap="square">
            <a:spAutoFit/>
          </a:bodyPr>
          <a:lstStyle/>
          <a:p>
            <a:pPr fontAlgn="t"/>
            <a:r>
              <a:rPr lang="en-US" sz="1454" b="1" u="sng">
                <a:latin typeface="Calibri" pitchFamily="34" charset="0"/>
                <a:cs typeface="Calibri" pitchFamily="34" charset="0"/>
              </a:rPr>
              <a:t>Phases:</a:t>
            </a:r>
            <a:r>
              <a:rPr lang="en-US" sz="1454">
                <a:latin typeface="Calibri" pitchFamily="34" charset="0"/>
                <a:cs typeface="Calibri" pitchFamily="34" charset="0"/>
              </a:rPr>
              <a:t>                        </a:t>
            </a:r>
            <a:r>
              <a:rPr lang="en-US" sz="1212" i="1">
                <a:solidFill>
                  <a:schemeClr val="bg1">
                    <a:lumMod val="65000"/>
                  </a:schemeClr>
                </a:solidFill>
                <a:latin typeface="Calibri" pitchFamily="34" charset="0"/>
                <a:cs typeface="Calibri" pitchFamily="34" charset="0"/>
              </a:rPr>
              <a:t>1-Assumption 2-Symptom 3-Speculation</a:t>
            </a:r>
            <a:r>
              <a:rPr lang="en-US" sz="1212" i="1" baseline="0">
                <a:solidFill>
                  <a:schemeClr val="bg1">
                    <a:lumMod val="65000"/>
                  </a:schemeClr>
                </a:solidFill>
                <a:latin typeface="Calibri" pitchFamily="34" charset="0"/>
                <a:cs typeface="Calibri" pitchFamily="34" charset="0"/>
              </a:rPr>
              <a:t> with limited data 4-Segmentation 5-ID’d 6-Containment deployed 7-Root cause validated</a:t>
            </a:r>
            <a:endParaRPr lang="en-US" sz="1454">
              <a:latin typeface="Calibri" pitchFamily="34" charset="0"/>
              <a:cs typeface="Calibri" pitchFamily="34" charset="0"/>
            </a:endParaRPr>
          </a:p>
        </p:txBody>
      </p:sp>
      <p:sp>
        <p:nvSpPr>
          <p:cNvPr id="2" name="Title 1"/>
          <p:cNvSpPr>
            <a:spLocks noGrp="1"/>
          </p:cNvSpPr>
          <p:nvPr>
            <p:ph type="title" hasCustomPrompt="1"/>
          </p:nvPr>
        </p:nvSpPr>
        <p:spPr>
          <a:xfrm>
            <a:off x="92364" y="62728"/>
            <a:ext cx="9882909" cy="457200"/>
          </a:xfrm>
        </p:spPr>
        <p:txBody>
          <a:bodyPr/>
          <a:lstStyle>
            <a:lvl1pPr algn="l">
              <a:defRPr sz="3393" baseline="0"/>
            </a:lvl1pPr>
          </a:lstStyle>
          <a:p>
            <a:r>
              <a:rPr lang="en-US"/>
              <a:t>(Enter Heading for Topic or Problem Statement)</a:t>
            </a:r>
          </a:p>
        </p:txBody>
      </p:sp>
      <p:sp>
        <p:nvSpPr>
          <p:cNvPr id="20" name="Rectangle 19"/>
          <p:cNvSpPr/>
          <p:nvPr userDrawn="1"/>
        </p:nvSpPr>
        <p:spPr>
          <a:xfrm>
            <a:off x="120073" y="519928"/>
            <a:ext cx="8534400" cy="316112"/>
          </a:xfrm>
          <a:prstGeom prst="rect">
            <a:avLst/>
          </a:prstGeom>
        </p:spPr>
        <p:txBody>
          <a:bodyPr wrap="square">
            <a:spAutoFit/>
          </a:bodyPr>
          <a:lstStyle/>
          <a:p>
            <a:pPr fontAlgn="t"/>
            <a:r>
              <a:rPr lang="en-US" sz="1454" b="1" u="sng">
                <a:latin typeface="Calibri" pitchFamily="34" charset="0"/>
                <a:cs typeface="Calibri" pitchFamily="34" charset="0"/>
              </a:rPr>
              <a:t>Risk:</a:t>
            </a:r>
            <a:r>
              <a:rPr lang="en-US" sz="1454" b="0" u="none" baseline="0">
                <a:latin typeface="Calibri" pitchFamily="34" charset="0"/>
                <a:cs typeface="Calibri" pitchFamily="34" charset="0"/>
              </a:rPr>
              <a:t>       </a:t>
            </a:r>
            <a:r>
              <a:rPr lang="en-US" sz="1454" b="0" u="none" baseline="0">
                <a:solidFill>
                  <a:srgbClr val="FF0000"/>
                </a:solidFill>
                <a:latin typeface="Calibri" pitchFamily="34" charset="0"/>
                <a:cs typeface="Calibri" pitchFamily="34" charset="0"/>
              </a:rPr>
              <a:t>           </a:t>
            </a:r>
            <a:r>
              <a:rPr lang="en-US" sz="1454" b="0" u="none" baseline="0">
                <a:latin typeface="Calibri" pitchFamily="34" charset="0"/>
                <a:cs typeface="Calibri" pitchFamily="34" charset="0"/>
              </a:rPr>
              <a:t>           </a:t>
            </a:r>
            <a:r>
              <a:rPr lang="en-US" sz="1212" i="1">
                <a:solidFill>
                  <a:schemeClr val="bg1">
                    <a:lumMod val="65000"/>
                  </a:schemeClr>
                </a:solidFill>
                <a:latin typeface="Calibri" pitchFamily="34" charset="0"/>
                <a:cs typeface="Calibri" pitchFamily="34" charset="0"/>
              </a:rPr>
              <a:t>1-Showstopper 1.5-High Risk/No Data 2-High Risk</a:t>
            </a:r>
            <a:r>
              <a:rPr lang="en-US" sz="1212" i="1" baseline="0">
                <a:solidFill>
                  <a:schemeClr val="bg1">
                    <a:lumMod val="65000"/>
                  </a:schemeClr>
                </a:solidFill>
                <a:latin typeface="Calibri" pitchFamily="34" charset="0"/>
                <a:cs typeface="Calibri" pitchFamily="34" charset="0"/>
              </a:rPr>
              <a:t> </a:t>
            </a:r>
            <a:r>
              <a:rPr lang="en-US" sz="1212" i="1">
                <a:solidFill>
                  <a:schemeClr val="bg1">
                    <a:lumMod val="65000"/>
                  </a:schemeClr>
                </a:solidFill>
                <a:latin typeface="Calibri" pitchFamily="34" charset="0"/>
                <a:cs typeface="Calibri" pitchFamily="34" charset="0"/>
              </a:rPr>
              <a:t>2.5-No Data 3-Med Risk 4-Low</a:t>
            </a:r>
            <a:r>
              <a:rPr lang="en-US" sz="1212" i="1" baseline="0">
                <a:solidFill>
                  <a:schemeClr val="bg1">
                    <a:lumMod val="65000"/>
                  </a:schemeClr>
                </a:solidFill>
                <a:latin typeface="Calibri" pitchFamily="34" charset="0"/>
                <a:cs typeface="Calibri" pitchFamily="34" charset="0"/>
              </a:rPr>
              <a:t> risk 5-cert.</a:t>
            </a:r>
            <a:endParaRPr lang="en-US" sz="1454">
              <a:latin typeface="Calibri" pitchFamily="34" charset="0"/>
              <a:cs typeface="Calibri" pitchFamily="34" charset="0"/>
            </a:endParaRPr>
          </a:p>
        </p:txBody>
      </p:sp>
      <p:sp>
        <p:nvSpPr>
          <p:cNvPr id="22" name="Subtitle 2"/>
          <p:cNvSpPr>
            <a:spLocks noGrp="1"/>
          </p:cNvSpPr>
          <p:nvPr>
            <p:ph type="subTitle" idx="20" hasCustomPrompt="1"/>
          </p:nvPr>
        </p:nvSpPr>
        <p:spPr>
          <a:xfrm>
            <a:off x="757382" y="566531"/>
            <a:ext cx="812800" cy="239797"/>
          </a:xfrm>
        </p:spPr>
        <p:txBody>
          <a:bodyPr anchor="ctr" anchorCtr="0"/>
          <a:lstStyle>
            <a:lvl1pPr marL="0" indent="0" algn="l">
              <a:buFont typeface="Arial" pitchFamily="34" charset="0"/>
              <a:buNone/>
              <a:defRPr sz="1454" b="1" baseline="0">
                <a:solidFill>
                  <a:srgbClr val="FF0000"/>
                </a:solidFill>
              </a:defRPr>
            </a:lvl1pPr>
            <a:lvl2pPr marL="0" indent="0" algn="ctr">
              <a:buNone/>
              <a:defRPr sz="3878" baseline="30000"/>
            </a:lvl2pPr>
            <a:lvl3pPr marL="1108070" indent="0" algn="ctr">
              <a:buNone/>
              <a:defRPr/>
            </a:lvl3pPr>
            <a:lvl4pPr marL="1662105" indent="0" algn="ctr">
              <a:buNone/>
              <a:defRPr/>
            </a:lvl4pPr>
            <a:lvl5pPr marL="2216140" indent="0" algn="ctr">
              <a:buNone/>
              <a:defRPr/>
            </a:lvl5pPr>
            <a:lvl6pPr marL="2770175" indent="0" algn="ctr">
              <a:buNone/>
              <a:defRPr/>
            </a:lvl6pPr>
            <a:lvl7pPr marL="3324210" indent="0" algn="ctr">
              <a:buNone/>
              <a:defRPr/>
            </a:lvl7pPr>
            <a:lvl8pPr marL="3878245" indent="0" algn="ctr">
              <a:buNone/>
              <a:defRPr/>
            </a:lvl8pPr>
            <a:lvl9pPr marL="4432280" indent="0" algn="ctr">
              <a:buNone/>
              <a:defRPr/>
            </a:lvl9pPr>
          </a:lstStyle>
          <a:p>
            <a:pPr lvl="0"/>
            <a:r>
              <a:rPr lang="en-US"/>
              <a:t>Level</a:t>
            </a:r>
          </a:p>
        </p:txBody>
      </p:sp>
      <p:sp>
        <p:nvSpPr>
          <p:cNvPr id="21" name="Text Placeholder 2"/>
          <p:cNvSpPr>
            <a:spLocks noGrp="1"/>
          </p:cNvSpPr>
          <p:nvPr>
            <p:ph type="body" idx="21" hasCustomPrompt="1"/>
          </p:nvPr>
        </p:nvSpPr>
        <p:spPr>
          <a:xfrm>
            <a:off x="757382" y="776331"/>
            <a:ext cx="812800" cy="244752"/>
          </a:xfrm>
        </p:spPr>
        <p:txBody>
          <a:bodyPr anchor="t" anchorCtr="0"/>
          <a:lstStyle>
            <a:lvl1pPr marL="0" indent="0" algn="l">
              <a:buNone/>
              <a:defRPr sz="1454" b="1" baseline="0">
                <a:solidFill>
                  <a:srgbClr val="FF0000"/>
                </a:solidFill>
              </a:defRPr>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Stage</a:t>
            </a:r>
          </a:p>
        </p:txBody>
      </p:sp>
      <p:sp>
        <p:nvSpPr>
          <p:cNvPr id="23" name="Text Placeholder 2"/>
          <p:cNvSpPr>
            <a:spLocks noGrp="1"/>
          </p:cNvSpPr>
          <p:nvPr>
            <p:ph type="body" idx="22" hasCustomPrompt="1"/>
          </p:nvPr>
        </p:nvSpPr>
        <p:spPr>
          <a:xfrm>
            <a:off x="9652001" y="573668"/>
            <a:ext cx="2435412" cy="281922"/>
          </a:xfrm>
        </p:spPr>
        <p:txBody>
          <a:bodyPr anchor="b"/>
          <a:lstStyle>
            <a:lvl1pPr marL="0" indent="0" algn="r">
              <a:buNone/>
              <a:defRPr sz="1454" b="1" baseline="0">
                <a:solidFill>
                  <a:schemeClr val="accent2"/>
                </a:solidFill>
              </a:defRPr>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Date </a:t>
            </a:r>
          </a:p>
        </p:txBody>
      </p:sp>
      <p:sp>
        <p:nvSpPr>
          <p:cNvPr id="3" name="TextBox 2"/>
          <p:cNvSpPr txBox="1"/>
          <p:nvPr userDrawn="1"/>
        </p:nvSpPr>
        <p:spPr>
          <a:xfrm>
            <a:off x="9605818" y="12505"/>
            <a:ext cx="2493818" cy="316112"/>
          </a:xfrm>
          <a:prstGeom prst="rect">
            <a:avLst/>
          </a:prstGeom>
          <a:noFill/>
        </p:spPr>
        <p:txBody>
          <a:bodyPr wrap="square" rtlCol="0">
            <a:spAutoFit/>
          </a:bodyPr>
          <a:lstStyle/>
          <a:p>
            <a:pPr algn="r"/>
            <a:r>
              <a:rPr lang="en-US" sz="1454">
                <a:solidFill>
                  <a:srgbClr val="FF0000"/>
                </a:solidFill>
                <a:latin typeface="Neo Sans Intel Medium" pitchFamily="34" charset="0"/>
              </a:rPr>
              <a:t>Intel Confidential</a:t>
            </a:r>
          </a:p>
        </p:txBody>
      </p:sp>
      <p:sp>
        <p:nvSpPr>
          <p:cNvPr id="28" name="Rectangle 5"/>
          <p:cNvSpPr>
            <a:spLocks noChangeArrowheads="1"/>
          </p:cNvSpPr>
          <p:nvPr userDrawn="1"/>
        </p:nvSpPr>
        <p:spPr bwMode="auto">
          <a:xfrm>
            <a:off x="10714182" y="843545"/>
            <a:ext cx="1246909" cy="223779"/>
          </a:xfrm>
          <a:prstGeom prst="rect">
            <a:avLst/>
          </a:prstGeom>
          <a:noFill/>
          <a:ln w="9525">
            <a:noFill/>
            <a:miter lim="800000"/>
            <a:headEnd/>
            <a:tailEnd/>
          </a:ln>
          <a:effectLst/>
        </p:spPr>
        <p:txBody>
          <a:bodyPr wrap="square" lIns="0" tIns="0" rIns="0" bIns="0">
            <a:spAutoFit/>
          </a:bodyPr>
          <a:lstStyle/>
          <a:p>
            <a:pPr algn="r" eaLnBrk="0" hangingPunct="0">
              <a:spcBef>
                <a:spcPct val="50000"/>
              </a:spcBef>
              <a:tabLst>
                <a:tab pos="4432280" algn="ctr"/>
                <a:tab pos="9839892" algn="r"/>
              </a:tabLst>
            </a:pPr>
            <a:r>
              <a:rPr lang="en-US" sz="1454" b="1">
                <a:solidFill>
                  <a:schemeClr val="accent2"/>
                </a:solidFill>
                <a:latin typeface="Calibri" pitchFamily="34" charset="0"/>
                <a:cs typeface="Calibri" pitchFamily="34" charset="0"/>
              </a:rPr>
              <a:t>Slide </a:t>
            </a:r>
            <a:fld id="{3CBE715E-4167-445E-8F25-69DFD044E05F}" type="slidenum">
              <a:rPr lang="en-US" sz="1454" b="1" smtClean="0">
                <a:solidFill>
                  <a:schemeClr val="accent2"/>
                </a:solidFill>
                <a:latin typeface="Calibri" pitchFamily="34" charset="0"/>
                <a:cs typeface="Calibri" pitchFamily="34" charset="0"/>
              </a:rPr>
              <a:pPr algn="r" eaLnBrk="0" hangingPunct="0">
                <a:spcBef>
                  <a:spcPct val="50000"/>
                </a:spcBef>
                <a:tabLst>
                  <a:tab pos="4432280" algn="ctr"/>
                  <a:tab pos="9839892" algn="r"/>
                </a:tabLst>
              </a:pPr>
              <a:t>‹#›</a:t>
            </a:fld>
            <a:endParaRPr lang="en-US" sz="1454" b="1">
              <a:solidFill>
                <a:schemeClr val="accent2"/>
              </a:solidFill>
              <a:latin typeface="Neo Sans Intel" pitchFamily="34" charset="0"/>
            </a:endParaRPr>
          </a:p>
        </p:txBody>
      </p:sp>
      <p:sp>
        <p:nvSpPr>
          <p:cNvPr id="5" name="Rectangle 4"/>
          <p:cNvSpPr/>
          <p:nvPr userDrawn="1"/>
        </p:nvSpPr>
        <p:spPr>
          <a:xfrm>
            <a:off x="92364" y="6463641"/>
            <a:ext cx="12007273" cy="3818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3"/>
          </a:p>
        </p:txBody>
      </p:sp>
      <p:sp>
        <p:nvSpPr>
          <p:cNvPr id="6" name="Content Placeholder 3"/>
          <p:cNvSpPr>
            <a:spLocks noGrp="1"/>
          </p:cNvSpPr>
          <p:nvPr>
            <p:ph sz="half" idx="2"/>
          </p:nvPr>
        </p:nvSpPr>
        <p:spPr>
          <a:xfrm>
            <a:off x="203200" y="1336678"/>
            <a:ext cx="3860800" cy="2580942"/>
          </a:xfrm>
          <a:ln>
            <a:solidFill>
              <a:schemeClr val="bg1">
                <a:lumMod val="50000"/>
              </a:schemeClr>
            </a:solidFill>
          </a:ln>
        </p:spPr>
        <p:txBody>
          <a:bodyPr/>
          <a:lstStyle>
            <a:lvl1pPr marL="140433" indent="-140433">
              <a:defRPr sz="1454"/>
            </a:lvl1pPr>
            <a:lvl2pPr marL="282789" indent="-142356">
              <a:defRPr sz="1454"/>
            </a:lvl2pPr>
            <a:lvl3pPr marL="413603" indent="-130814">
              <a:defRPr sz="1454"/>
            </a:lvl3pPr>
            <a:lvl4pPr marL="554035" indent="-140433">
              <a:defRPr sz="1454"/>
            </a:lvl4pPr>
            <a:lvl5pPr marL="694468" indent="-140433">
              <a:defRPr sz="1454"/>
            </a:lvl5pPr>
            <a:lvl6pPr>
              <a:defRPr sz="1939"/>
            </a:lvl6pPr>
            <a:lvl7pPr>
              <a:defRPr sz="1939"/>
            </a:lvl7pPr>
            <a:lvl8pPr>
              <a:defRPr sz="1939"/>
            </a:lvl8pPr>
            <a:lvl9pPr>
              <a:defRPr sz="19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1"/>
          </p:nvPr>
        </p:nvSpPr>
        <p:spPr>
          <a:xfrm>
            <a:off x="4165600" y="1336678"/>
            <a:ext cx="3860800" cy="2580942"/>
          </a:xfrm>
          <a:ln>
            <a:solidFill>
              <a:schemeClr val="bg1">
                <a:lumMod val="50000"/>
              </a:schemeClr>
            </a:solidFill>
          </a:ln>
        </p:spPr>
        <p:txBody>
          <a:bodyPr/>
          <a:lstStyle>
            <a:lvl1pPr marL="140433" indent="-140433">
              <a:defRPr sz="1454"/>
            </a:lvl1pPr>
            <a:lvl2pPr marL="282789" indent="-142356">
              <a:defRPr sz="1454"/>
            </a:lvl2pPr>
            <a:lvl3pPr marL="413603" indent="-130814">
              <a:defRPr sz="1454"/>
            </a:lvl3pPr>
            <a:lvl4pPr marL="554035" indent="-140433">
              <a:defRPr sz="1454"/>
            </a:lvl4pPr>
            <a:lvl5pPr marL="694468" indent="-140433">
              <a:defRPr sz="1454"/>
            </a:lvl5pPr>
            <a:lvl6pPr>
              <a:defRPr sz="1939"/>
            </a:lvl6pPr>
            <a:lvl7pPr>
              <a:defRPr sz="1939"/>
            </a:lvl7pPr>
            <a:lvl8pPr>
              <a:defRPr sz="1939"/>
            </a:lvl8pPr>
            <a:lvl9pPr>
              <a:defRPr sz="19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13"/>
          </p:nvPr>
        </p:nvSpPr>
        <p:spPr>
          <a:xfrm>
            <a:off x="8128000" y="1336678"/>
            <a:ext cx="3860800" cy="2580942"/>
          </a:xfrm>
          <a:ln>
            <a:solidFill>
              <a:schemeClr val="bg1">
                <a:lumMod val="50000"/>
              </a:schemeClr>
            </a:solidFill>
          </a:ln>
        </p:spPr>
        <p:txBody>
          <a:bodyPr/>
          <a:lstStyle>
            <a:lvl1pPr marL="140433" indent="-140433">
              <a:defRPr sz="1454"/>
            </a:lvl1pPr>
            <a:lvl2pPr marL="282789" indent="-142356">
              <a:defRPr sz="1454"/>
            </a:lvl2pPr>
            <a:lvl3pPr marL="413603" indent="-130814">
              <a:defRPr sz="1454"/>
            </a:lvl3pPr>
            <a:lvl4pPr marL="554035" indent="-140433">
              <a:defRPr sz="1454"/>
            </a:lvl4pPr>
            <a:lvl5pPr marL="694468" indent="-140433">
              <a:defRPr sz="1454"/>
            </a:lvl5pPr>
            <a:lvl6pPr>
              <a:defRPr sz="1939"/>
            </a:lvl6pPr>
            <a:lvl7pPr>
              <a:defRPr sz="1939"/>
            </a:lvl7pPr>
            <a:lvl8pPr>
              <a:defRPr sz="1939"/>
            </a:lvl8pPr>
            <a:lvl9pPr>
              <a:defRPr sz="19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15"/>
          </p:nvPr>
        </p:nvSpPr>
        <p:spPr>
          <a:xfrm>
            <a:off x="203200" y="4240398"/>
            <a:ext cx="3860800" cy="2580942"/>
          </a:xfrm>
          <a:ln>
            <a:solidFill>
              <a:schemeClr val="bg1">
                <a:lumMod val="50000"/>
              </a:schemeClr>
            </a:solidFill>
          </a:ln>
        </p:spPr>
        <p:txBody>
          <a:bodyPr/>
          <a:lstStyle>
            <a:lvl1pPr marL="140433" indent="-140433">
              <a:defRPr sz="1454"/>
            </a:lvl1pPr>
            <a:lvl2pPr marL="282789" indent="-142356">
              <a:defRPr sz="1454"/>
            </a:lvl2pPr>
            <a:lvl3pPr marL="413603" indent="-130814">
              <a:defRPr sz="1454"/>
            </a:lvl3pPr>
            <a:lvl4pPr marL="554035" indent="-140433">
              <a:defRPr sz="1454"/>
            </a:lvl4pPr>
            <a:lvl5pPr marL="694468" indent="-140433">
              <a:defRPr sz="1454"/>
            </a:lvl5pPr>
            <a:lvl6pPr>
              <a:defRPr sz="1939"/>
            </a:lvl6pPr>
            <a:lvl7pPr>
              <a:defRPr sz="1939"/>
            </a:lvl7pPr>
            <a:lvl8pPr>
              <a:defRPr sz="1939"/>
            </a:lvl8pPr>
            <a:lvl9pPr>
              <a:defRPr sz="19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half" idx="17"/>
          </p:nvPr>
        </p:nvSpPr>
        <p:spPr>
          <a:xfrm>
            <a:off x="4165600" y="4240398"/>
            <a:ext cx="3860800" cy="2580942"/>
          </a:xfrm>
          <a:ln>
            <a:solidFill>
              <a:schemeClr val="bg1">
                <a:lumMod val="50000"/>
              </a:schemeClr>
            </a:solidFill>
          </a:ln>
        </p:spPr>
        <p:txBody>
          <a:bodyPr/>
          <a:lstStyle>
            <a:lvl1pPr marL="140433" indent="-140433">
              <a:defRPr sz="1454"/>
            </a:lvl1pPr>
            <a:lvl2pPr marL="282789" indent="-142356">
              <a:defRPr sz="1454"/>
            </a:lvl2pPr>
            <a:lvl3pPr marL="413603" indent="-130814">
              <a:defRPr sz="1454"/>
            </a:lvl3pPr>
            <a:lvl4pPr marL="554035" indent="-140433">
              <a:defRPr sz="1454"/>
            </a:lvl4pPr>
            <a:lvl5pPr marL="694468" indent="-140433">
              <a:defRPr sz="1454"/>
            </a:lvl5pPr>
            <a:lvl6pPr>
              <a:defRPr sz="1939"/>
            </a:lvl6pPr>
            <a:lvl7pPr>
              <a:defRPr sz="1939"/>
            </a:lvl7pPr>
            <a:lvl8pPr>
              <a:defRPr sz="1939"/>
            </a:lvl8pPr>
            <a:lvl9pPr>
              <a:defRPr sz="19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half" idx="19"/>
          </p:nvPr>
        </p:nvSpPr>
        <p:spPr>
          <a:xfrm>
            <a:off x="8128000" y="4240398"/>
            <a:ext cx="3860800" cy="2580942"/>
          </a:xfrm>
          <a:ln>
            <a:solidFill>
              <a:schemeClr val="bg1">
                <a:lumMod val="50000"/>
              </a:schemeClr>
            </a:solidFill>
          </a:ln>
        </p:spPr>
        <p:txBody>
          <a:bodyPr/>
          <a:lstStyle>
            <a:lvl1pPr marL="140433" indent="-140433">
              <a:defRPr sz="1454"/>
            </a:lvl1pPr>
            <a:lvl2pPr marL="282789" indent="-142356">
              <a:defRPr sz="1454"/>
            </a:lvl2pPr>
            <a:lvl3pPr marL="413603" indent="-130814">
              <a:defRPr sz="1454"/>
            </a:lvl3pPr>
            <a:lvl4pPr marL="554035" indent="-140433">
              <a:defRPr sz="1454"/>
            </a:lvl4pPr>
            <a:lvl5pPr marL="694468" indent="-140433">
              <a:defRPr sz="1454"/>
            </a:lvl5pPr>
            <a:lvl6pPr>
              <a:defRPr sz="1939"/>
            </a:lvl6pPr>
            <a:lvl7pPr>
              <a:defRPr sz="1939"/>
            </a:lvl7pPr>
            <a:lvl8pPr>
              <a:defRPr sz="1939"/>
            </a:lvl8pPr>
            <a:lvl9pPr>
              <a:defRPr sz="19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2"/>
          <p:cNvSpPr>
            <a:spLocks noGrp="1"/>
          </p:cNvSpPr>
          <p:nvPr>
            <p:ph type="body" idx="1" hasCustomPrompt="1"/>
          </p:nvPr>
        </p:nvSpPr>
        <p:spPr>
          <a:xfrm>
            <a:off x="554182" y="1066801"/>
            <a:ext cx="3140364" cy="269876"/>
          </a:xfrm>
          <a:solidFill>
            <a:schemeClr val="bg1">
              <a:lumMod val="50000"/>
            </a:schemeClr>
          </a:solidFill>
        </p:spPr>
        <p:txBody>
          <a:bodyPr anchor="b"/>
          <a:lstStyle>
            <a:lvl1pPr marL="0" indent="0" algn="ctr">
              <a:buNone/>
              <a:defRPr sz="1454" b="1" u="sng" baseline="0">
                <a:solidFill>
                  <a:schemeClr val="bg1"/>
                </a:solidFill>
              </a:defRPr>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Enter title: Goal vs. Gap)</a:t>
            </a:r>
          </a:p>
        </p:txBody>
      </p:sp>
      <p:sp>
        <p:nvSpPr>
          <p:cNvPr id="25" name="Text Placeholder 2"/>
          <p:cNvSpPr>
            <a:spLocks noGrp="1"/>
          </p:cNvSpPr>
          <p:nvPr>
            <p:ph type="body" idx="23" hasCustomPrompt="1"/>
          </p:nvPr>
        </p:nvSpPr>
        <p:spPr>
          <a:xfrm>
            <a:off x="4525818" y="1066801"/>
            <a:ext cx="3140364" cy="269876"/>
          </a:xfrm>
          <a:solidFill>
            <a:schemeClr val="bg1">
              <a:lumMod val="50000"/>
            </a:schemeClr>
          </a:solidFill>
        </p:spPr>
        <p:txBody>
          <a:bodyPr anchor="b"/>
          <a:lstStyle>
            <a:lvl1pPr marL="0" indent="0" algn="ctr">
              <a:buNone/>
              <a:defRPr sz="1454" b="1" u="sng" baseline="0">
                <a:solidFill>
                  <a:schemeClr val="bg1"/>
                </a:solidFill>
              </a:defRPr>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Enter title: Model)</a:t>
            </a:r>
          </a:p>
        </p:txBody>
      </p:sp>
      <p:sp>
        <p:nvSpPr>
          <p:cNvPr id="32" name="Text Placeholder 2"/>
          <p:cNvSpPr>
            <a:spLocks noGrp="1"/>
          </p:cNvSpPr>
          <p:nvPr>
            <p:ph type="body" idx="24" hasCustomPrompt="1"/>
          </p:nvPr>
        </p:nvSpPr>
        <p:spPr>
          <a:xfrm>
            <a:off x="8497454" y="1066801"/>
            <a:ext cx="3140364" cy="269876"/>
          </a:xfrm>
          <a:solidFill>
            <a:schemeClr val="bg1">
              <a:lumMod val="50000"/>
            </a:schemeClr>
          </a:solidFill>
        </p:spPr>
        <p:txBody>
          <a:bodyPr anchor="b"/>
          <a:lstStyle>
            <a:lvl1pPr marL="0" indent="0" algn="ctr">
              <a:buNone/>
              <a:defRPr sz="1454" b="1" u="sng" baseline="0">
                <a:solidFill>
                  <a:schemeClr val="bg1"/>
                </a:solidFill>
              </a:defRPr>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Enter title: Supporting Results)</a:t>
            </a:r>
          </a:p>
        </p:txBody>
      </p:sp>
      <p:sp>
        <p:nvSpPr>
          <p:cNvPr id="33" name="Text Placeholder 2"/>
          <p:cNvSpPr>
            <a:spLocks noGrp="1"/>
          </p:cNvSpPr>
          <p:nvPr>
            <p:ph type="body" idx="25" hasCustomPrompt="1"/>
          </p:nvPr>
        </p:nvSpPr>
        <p:spPr>
          <a:xfrm>
            <a:off x="8497454" y="3983026"/>
            <a:ext cx="3140364" cy="269876"/>
          </a:xfrm>
          <a:solidFill>
            <a:schemeClr val="bg1">
              <a:lumMod val="50000"/>
            </a:schemeClr>
          </a:solidFill>
        </p:spPr>
        <p:txBody>
          <a:bodyPr anchor="b"/>
          <a:lstStyle>
            <a:lvl1pPr marL="0" indent="0" algn="ctr">
              <a:buNone/>
              <a:defRPr sz="1454" b="1" u="sng" baseline="0">
                <a:solidFill>
                  <a:schemeClr val="bg1"/>
                </a:solidFill>
              </a:defRPr>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Enter title: Plan and Projection)</a:t>
            </a:r>
          </a:p>
        </p:txBody>
      </p:sp>
      <p:sp>
        <p:nvSpPr>
          <p:cNvPr id="34" name="Text Placeholder 2"/>
          <p:cNvSpPr>
            <a:spLocks noGrp="1"/>
          </p:cNvSpPr>
          <p:nvPr>
            <p:ph type="body" idx="26" hasCustomPrompt="1"/>
          </p:nvPr>
        </p:nvSpPr>
        <p:spPr>
          <a:xfrm>
            <a:off x="4525818" y="3970522"/>
            <a:ext cx="3140364" cy="269876"/>
          </a:xfrm>
          <a:solidFill>
            <a:schemeClr val="bg1">
              <a:lumMod val="50000"/>
            </a:schemeClr>
          </a:solidFill>
        </p:spPr>
        <p:txBody>
          <a:bodyPr anchor="b"/>
          <a:lstStyle>
            <a:lvl1pPr marL="0" indent="0" algn="ctr">
              <a:buNone/>
              <a:defRPr sz="1454" b="1" u="sng" baseline="0">
                <a:solidFill>
                  <a:schemeClr val="bg1"/>
                </a:solidFill>
              </a:defRPr>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Enter title: Strategy)</a:t>
            </a:r>
          </a:p>
        </p:txBody>
      </p:sp>
      <p:sp>
        <p:nvSpPr>
          <p:cNvPr id="35" name="Text Placeholder 2"/>
          <p:cNvSpPr>
            <a:spLocks noGrp="1"/>
          </p:cNvSpPr>
          <p:nvPr>
            <p:ph type="body" idx="27" hasCustomPrompt="1"/>
          </p:nvPr>
        </p:nvSpPr>
        <p:spPr>
          <a:xfrm>
            <a:off x="554182" y="3970522"/>
            <a:ext cx="3140364" cy="265363"/>
          </a:xfrm>
          <a:solidFill>
            <a:schemeClr val="bg1">
              <a:lumMod val="50000"/>
            </a:schemeClr>
          </a:solidFill>
        </p:spPr>
        <p:txBody>
          <a:bodyPr anchor="b"/>
          <a:lstStyle>
            <a:lvl1pPr marL="0" indent="0" algn="ctr">
              <a:buNone/>
              <a:defRPr sz="1454" b="1" u="sng" baseline="0">
                <a:solidFill>
                  <a:schemeClr val="bg1"/>
                </a:solidFill>
              </a:defRPr>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Enter title: Owners &amp; Status)</a:t>
            </a:r>
          </a:p>
        </p:txBody>
      </p:sp>
    </p:spTree>
    <p:extLst>
      <p:ext uri="{BB962C8B-B14F-4D97-AF65-F5344CB8AC3E}">
        <p14:creationId xmlns:p14="http://schemas.microsoft.com/office/powerpoint/2010/main" val="24688311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1"/>
            <a:ext cx="8534400" cy="1752600"/>
          </a:xfrm>
        </p:spPr>
        <p:txBody>
          <a:bodyPr/>
          <a:lstStyle>
            <a:lvl1pPr marL="0" indent="0" algn="ctr">
              <a:buNone/>
              <a:defRPr/>
            </a:lvl1pPr>
            <a:lvl2pPr marL="554035" indent="0" algn="ctr">
              <a:buNone/>
              <a:defRPr/>
            </a:lvl2pPr>
            <a:lvl3pPr marL="1108070" indent="0" algn="ctr">
              <a:buNone/>
              <a:defRPr/>
            </a:lvl3pPr>
            <a:lvl4pPr marL="1662105" indent="0" algn="ctr">
              <a:buNone/>
              <a:defRPr/>
            </a:lvl4pPr>
            <a:lvl5pPr marL="2216140" indent="0" algn="ctr">
              <a:buNone/>
              <a:defRPr/>
            </a:lvl5pPr>
            <a:lvl6pPr marL="2770175" indent="0" algn="ctr">
              <a:buNone/>
              <a:defRPr/>
            </a:lvl6pPr>
            <a:lvl7pPr marL="3324210" indent="0" algn="ctr">
              <a:buNone/>
              <a:defRPr/>
            </a:lvl7pPr>
            <a:lvl8pPr marL="3878245" indent="0" algn="ctr">
              <a:buNone/>
              <a:defRPr/>
            </a:lvl8pPr>
            <a:lvl9pPr marL="4432280" indent="0" algn="ctr">
              <a:buNone/>
              <a:defRPr/>
            </a:lvl9pPr>
          </a:lstStyle>
          <a:p>
            <a:r>
              <a:rPr lang="en-US"/>
              <a:t>Click to edit Master sub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6"/>
          </a:xfrm>
        </p:spPr>
        <p:txBody>
          <a:bodyPr anchor="t"/>
          <a:lstStyle>
            <a:lvl1pPr algn="l">
              <a:defRPr sz="4847" b="1" cap="small" baseline="0"/>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424"/>
            </a:lvl1pPr>
            <a:lvl2pPr marL="554035" indent="0">
              <a:buNone/>
              <a:defRPr sz="2181"/>
            </a:lvl2pPr>
            <a:lvl3pPr marL="1108070" indent="0">
              <a:buNone/>
              <a:defRPr sz="1939"/>
            </a:lvl3pPr>
            <a:lvl4pPr marL="1662105" indent="0">
              <a:buNone/>
              <a:defRPr sz="1697"/>
            </a:lvl4pPr>
            <a:lvl5pPr marL="2216140" indent="0">
              <a:buNone/>
              <a:defRPr sz="1697"/>
            </a:lvl5pPr>
            <a:lvl6pPr marL="2770175" indent="0">
              <a:buNone/>
              <a:defRPr sz="1697"/>
            </a:lvl6pPr>
            <a:lvl7pPr marL="3324210" indent="0">
              <a:buNone/>
              <a:defRPr sz="1697"/>
            </a:lvl7pPr>
            <a:lvl8pPr marL="3878245" indent="0">
              <a:buNone/>
              <a:defRPr sz="1697"/>
            </a:lvl8pPr>
            <a:lvl9pPr marL="4432280" indent="0">
              <a:buNone/>
              <a:defRPr sz="1697"/>
            </a:lvl9pPr>
          </a:lstStyle>
          <a:p>
            <a:pPr lvl="0"/>
            <a:r>
              <a:rPr lang="en-US"/>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219200"/>
            <a:ext cx="5080000" cy="4876800"/>
          </a:xfrm>
        </p:spPr>
        <p:txBody>
          <a:bodyPr/>
          <a:lstStyle>
            <a:lvl1pPr>
              <a:defRPr sz="3393"/>
            </a:lvl1pPr>
            <a:lvl2pPr>
              <a:defRPr sz="2908"/>
            </a:lvl2pPr>
            <a:lvl3pPr>
              <a:defRPr sz="2424"/>
            </a:lvl3pPr>
            <a:lvl4pPr>
              <a:defRPr sz="2181"/>
            </a:lvl4pPr>
            <a:lvl5pPr>
              <a:defRPr sz="2181"/>
            </a:lvl5pPr>
            <a:lvl6pPr>
              <a:defRPr sz="2181"/>
            </a:lvl6pPr>
            <a:lvl7pPr>
              <a:defRPr sz="2181"/>
            </a:lvl7pPr>
            <a:lvl8pPr>
              <a:defRPr sz="2181"/>
            </a:lvl8pPr>
            <a:lvl9pPr>
              <a:defRPr sz="218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19200"/>
            <a:ext cx="5080000" cy="4876800"/>
          </a:xfrm>
        </p:spPr>
        <p:txBody>
          <a:bodyPr/>
          <a:lstStyle>
            <a:lvl1pPr>
              <a:defRPr sz="3393"/>
            </a:lvl1pPr>
            <a:lvl2pPr>
              <a:defRPr sz="2908"/>
            </a:lvl2pPr>
            <a:lvl3pPr>
              <a:defRPr sz="2424"/>
            </a:lvl3pPr>
            <a:lvl4pPr>
              <a:defRPr sz="2181"/>
            </a:lvl4pPr>
            <a:lvl5pPr>
              <a:defRPr sz="2181"/>
            </a:lvl5pPr>
            <a:lvl6pPr>
              <a:defRPr sz="2181"/>
            </a:lvl6pPr>
            <a:lvl7pPr>
              <a:defRPr sz="2181"/>
            </a:lvl7pPr>
            <a:lvl8pPr>
              <a:defRPr sz="2181"/>
            </a:lvl8pPr>
            <a:lvl9pPr>
              <a:defRPr sz="218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8" cy="639763"/>
          </a:xfrm>
        </p:spPr>
        <p:txBody>
          <a:bodyPr anchor="b"/>
          <a:lstStyle>
            <a:lvl1pPr marL="0" indent="0">
              <a:buNone/>
              <a:defRPr sz="2908" b="1"/>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Click to edit Master text styles</a:t>
            </a:r>
          </a:p>
        </p:txBody>
      </p:sp>
      <p:sp>
        <p:nvSpPr>
          <p:cNvPr id="4" name="Content Placeholder 3"/>
          <p:cNvSpPr>
            <a:spLocks noGrp="1"/>
          </p:cNvSpPr>
          <p:nvPr>
            <p:ph sz="half" idx="2"/>
          </p:nvPr>
        </p:nvSpPr>
        <p:spPr>
          <a:xfrm>
            <a:off x="609600" y="2174874"/>
            <a:ext cx="5386918" cy="3951289"/>
          </a:xfrm>
        </p:spPr>
        <p:txBody>
          <a:bodyPr/>
          <a:lstStyle>
            <a:lvl1pPr>
              <a:defRPr sz="2908"/>
            </a:lvl1pPr>
            <a:lvl2pPr>
              <a:defRPr sz="2424"/>
            </a:lvl2pPr>
            <a:lvl3pPr>
              <a:defRPr sz="2181"/>
            </a:lvl3pPr>
            <a:lvl4pPr>
              <a:defRPr sz="1939"/>
            </a:lvl4pPr>
            <a:lvl5pPr>
              <a:defRPr sz="1939"/>
            </a:lvl5pPr>
            <a:lvl6pPr>
              <a:defRPr sz="1939"/>
            </a:lvl6pPr>
            <a:lvl7pPr>
              <a:defRPr sz="1939"/>
            </a:lvl7pPr>
            <a:lvl8pPr>
              <a:defRPr sz="1939"/>
            </a:lvl8pPr>
            <a:lvl9pPr>
              <a:defRPr sz="19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4" cy="639763"/>
          </a:xfrm>
        </p:spPr>
        <p:txBody>
          <a:bodyPr anchor="b"/>
          <a:lstStyle>
            <a:lvl1pPr marL="0" indent="0">
              <a:buNone/>
              <a:defRPr sz="2908" b="1"/>
            </a:lvl1pPr>
            <a:lvl2pPr marL="554035" indent="0">
              <a:buNone/>
              <a:defRPr sz="2424" b="1"/>
            </a:lvl2pPr>
            <a:lvl3pPr marL="1108070" indent="0">
              <a:buNone/>
              <a:defRPr sz="2181" b="1"/>
            </a:lvl3pPr>
            <a:lvl4pPr marL="1662105" indent="0">
              <a:buNone/>
              <a:defRPr sz="1939" b="1"/>
            </a:lvl4pPr>
            <a:lvl5pPr marL="2216140" indent="0">
              <a:buNone/>
              <a:defRPr sz="1939" b="1"/>
            </a:lvl5pPr>
            <a:lvl6pPr marL="2770175" indent="0">
              <a:buNone/>
              <a:defRPr sz="1939" b="1"/>
            </a:lvl6pPr>
            <a:lvl7pPr marL="3324210" indent="0">
              <a:buNone/>
              <a:defRPr sz="1939" b="1"/>
            </a:lvl7pPr>
            <a:lvl8pPr marL="3878245" indent="0">
              <a:buNone/>
              <a:defRPr sz="1939" b="1"/>
            </a:lvl8pPr>
            <a:lvl9pPr marL="4432280" indent="0">
              <a:buNone/>
              <a:defRPr sz="1939" b="1"/>
            </a:lvl9pPr>
          </a:lstStyle>
          <a:p>
            <a:pPr lvl="0"/>
            <a:r>
              <a:rPr lang="en-US"/>
              <a:t>Click to edit Master text styles</a:t>
            </a:r>
          </a:p>
        </p:txBody>
      </p:sp>
      <p:sp>
        <p:nvSpPr>
          <p:cNvPr id="6" name="Content Placeholder 5"/>
          <p:cNvSpPr>
            <a:spLocks noGrp="1"/>
          </p:cNvSpPr>
          <p:nvPr>
            <p:ph sz="quarter" idx="4"/>
          </p:nvPr>
        </p:nvSpPr>
        <p:spPr>
          <a:xfrm>
            <a:off x="6193371" y="2174874"/>
            <a:ext cx="5389034" cy="3951289"/>
          </a:xfrm>
        </p:spPr>
        <p:txBody>
          <a:bodyPr/>
          <a:lstStyle>
            <a:lvl1pPr>
              <a:defRPr sz="2908"/>
            </a:lvl1pPr>
            <a:lvl2pPr>
              <a:defRPr sz="2424"/>
            </a:lvl2pPr>
            <a:lvl3pPr>
              <a:defRPr sz="2181"/>
            </a:lvl3pPr>
            <a:lvl4pPr>
              <a:defRPr sz="1939"/>
            </a:lvl4pPr>
            <a:lvl5pPr>
              <a:defRPr sz="1939"/>
            </a:lvl5pPr>
            <a:lvl6pPr>
              <a:defRPr sz="1939"/>
            </a:lvl6pPr>
            <a:lvl7pPr>
              <a:defRPr sz="1939"/>
            </a:lvl7pPr>
            <a:lvl8pPr>
              <a:defRPr sz="1939"/>
            </a:lvl8pPr>
            <a:lvl9pPr>
              <a:defRPr sz="19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bwMode="auto">
          <a:xfrm>
            <a:off x="914400" y="152400"/>
            <a:ext cx="10363200" cy="838200"/>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lvl="0"/>
            <a:r>
              <a:rPr lang="en-US"/>
              <a:t>Click to edit Master title style</a:t>
            </a:r>
          </a:p>
        </p:txBody>
      </p:sp>
      <p:sp>
        <p:nvSpPr>
          <p:cNvPr id="8195" name="Rectangle 3"/>
          <p:cNvSpPr>
            <a:spLocks noGrp="1" noChangeArrowheads="1"/>
          </p:cNvSpPr>
          <p:nvPr>
            <p:ph type="body" idx="1"/>
          </p:nvPr>
        </p:nvSpPr>
        <p:spPr bwMode="auto">
          <a:xfrm>
            <a:off x="914400" y="1219200"/>
            <a:ext cx="10363200" cy="48768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8613" name="Rectangle 5"/>
          <p:cNvSpPr>
            <a:spLocks noChangeArrowheads="1"/>
          </p:cNvSpPr>
          <p:nvPr/>
        </p:nvSpPr>
        <p:spPr bwMode="auto">
          <a:xfrm>
            <a:off x="5080000" y="6621722"/>
            <a:ext cx="2133600" cy="223779"/>
          </a:xfrm>
          <a:prstGeom prst="rect">
            <a:avLst/>
          </a:prstGeom>
          <a:noFill/>
          <a:ln w="9525">
            <a:noFill/>
            <a:miter lim="800000"/>
            <a:headEnd/>
            <a:tailEnd/>
          </a:ln>
          <a:effectLst/>
        </p:spPr>
        <p:txBody>
          <a:bodyPr wrap="square" lIns="0" tIns="0" rIns="0" bIns="0">
            <a:spAutoFit/>
          </a:bodyPr>
          <a:lstStyle/>
          <a:p>
            <a:pPr algn="ctr" eaLnBrk="0" hangingPunct="0">
              <a:spcBef>
                <a:spcPct val="50000"/>
              </a:spcBef>
              <a:tabLst>
                <a:tab pos="4432280" algn="ctr"/>
                <a:tab pos="9839892" algn="r"/>
              </a:tabLst>
            </a:pPr>
            <a:fld id="{3CBE715E-4167-445E-8F25-69DFD044E05F}" type="slidenum">
              <a:rPr lang="en-US" sz="1454" b="0" smtClean="0">
                <a:latin typeface="Calibri" pitchFamily="34" charset="0"/>
                <a:cs typeface="Calibri" pitchFamily="34" charset="0"/>
              </a:rPr>
              <a:pPr algn="ctr" eaLnBrk="0" hangingPunct="0">
                <a:spcBef>
                  <a:spcPct val="50000"/>
                </a:spcBef>
                <a:tabLst>
                  <a:tab pos="4432280" algn="ctr"/>
                  <a:tab pos="9839892" algn="r"/>
                </a:tabLst>
              </a:pPr>
              <a:t>‹#›</a:t>
            </a:fld>
            <a:endParaRPr lang="en-US" sz="1454" b="1">
              <a:latin typeface="Neo Sans Intel" pitchFamily="34" charset="0"/>
            </a:endParaRPr>
          </a:p>
        </p:txBody>
      </p:sp>
      <p:sp>
        <p:nvSpPr>
          <p:cNvPr id="8" name="TextBox 7"/>
          <p:cNvSpPr txBox="1"/>
          <p:nvPr/>
        </p:nvSpPr>
        <p:spPr>
          <a:xfrm>
            <a:off x="8077200" y="6534554"/>
            <a:ext cx="4013201" cy="316112"/>
          </a:xfrm>
          <a:prstGeom prst="rect">
            <a:avLst/>
          </a:prstGeom>
          <a:noFill/>
        </p:spPr>
        <p:txBody>
          <a:bodyPr wrap="square" rtlCol="0">
            <a:spAutoFit/>
          </a:bodyPr>
          <a:lstStyle/>
          <a:p>
            <a:pPr algn="r"/>
            <a:r>
              <a:rPr lang="en-US" sz="1454" baseline="0">
                <a:latin typeface="Calibri" pitchFamily="34" charset="0"/>
                <a:cs typeface="Calibri" pitchFamily="34" charset="0"/>
              </a:rPr>
              <a:t>CPG/GEMS/FTE</a:t>
            </a:r>
            <a:endParaRPr lang="en-US" sz="1454">
              <a:latin typeface="Calibri" pitchFamily="34" charset="0"/>
              <a:cs typeface="Calibri" pitchFamily="34" charset="0"/>
            </a:endParaRPr>
          </a:p>
        </p:txBody>
      </p:sp>
      <p:sp>
        <p:nvSpPr>
          <p:cNvPr id="10" name="Rectangle 4"/>
          <p:cNvSpPr>
            <a:spLocks noChangeArrowheads="1"/>
          </p:cNvSpPr>
          <p:nvPr/>
        </p:nvSpPr>
        <p:spPr bwMode="auto">
          <a:xfrm>
            <a:off x="1413164" y="6471760"/>
            <a:ext cx="2701636" cy="373827"/>
          </a:xfrm>
          <a:prstGeom prst="rect">
            <a:avLst/>
          </a:prstGeom>
          <a:noFill/>
          <a:ln w="9525">
            <a:noFill/>
            <a:miter lim="800000"/>
            <a:headEnd/>
            <a:tailEnd/>
          </a:ln>
          <a:effectLst/>
        </p:spPr>
        <p:txBody>
          <a:bodyPr wrap="square" lIns="111575" tIns="55788" rIns="111575" bIns="55788">
            <a:spAutoFit/>
          </a:bodyPr>
          <a:lstStyle/>
          <a:p>
            <a:pPr algn="ctr" eaLnBrk="0" hangingPunct="0">
              <a:defRPr/>
            </a:pPr>
            <a:r>
              <a:rPr lang="en-US" sz="1697" b="1">
                <a:solidFill>
                  <a:srgbClr val="FF0000"/>
                </a:solidFill>
                <a:latin typeface="Calibri" pitchFamily="34" charset="0"/>
                <a:cs typeface="Calibri" pitchFamily="34" charset="0"/>
              </a:rPr>
              <a:t>Intel Confidential</a:t>
            </a:r>
          </a:p>
        </p:txBody>
      </p:sp>
      <p:pic>
        <p:nvPicPr>
          <p:cNvPr id="3" name="Picture 2" descr="Logo&#10;&#10;Description automatically generated">
            <a:extLst>
              <a:ext uri="{FF2B5EF4-FFF2-40B4-BE49-F238E27FC236}">
                <a16:creationId xmlns:a16="http://schemas.microsoft.com/office/drawing/2014/main" id="{3C0D8DB6-018E-4C46-9743-E54E47130DB9}"/>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21092" y="6541964"/>
            <a:ext cx="593437" cy="233418"/>
          </a:xfrm>
          <a:prstGeom prst="rect">
            <a:avLst/>
          </a:prstGeom>
        </p:spPr>
      </p:pic>
      <p:sp>
        <p:nvSpPr>
          <p:cNvPr id="9" name="Rectangle 4">
            <a:extLst>
              <a:ext uri="{FF2B5EF4-FFF2-40B4-BE49-F238E27FC236}">
                <a16:creationId xmlns:a16="http://schemas.microsoft.com/office/drawing/2014/main" id="{7C0EAF90-6C3A-A949-8A66-3D3F1E06B986}"/>
              </a:ext>
            </a:extLst>
          </p:cNvPr>
          <p:cNvSpPr>
            <a:spLocks noChangeArrowheads="1"/>
          </p:cNvSpPr>
          <p:nvPr userDrawn="1"/>
        </p:nvSpPr>
        <p:spPr bwMode="auto">
          <a:xfrm>
            <a:off x="6324600" y="6576057"/>
            <a:ext cx="3733800" cy="281943"/>
          </a:xfrm>
          <a:prstGeom prst="rect">
            <a:avLst/>
          </a:prstGeom>
          <a:noFill/>
          <a:ln w="9525">
            <a:noFill/>
            <a:miter lim="800000"/>
            <a:headEnd/>
            <a:tailEnd/>
          </a:ln>
          <a:effectLst/>
        </p:spPr>
        <p:txBody>
          <a:bodyPr wrap="square" lIns="111575" tIns="55788" rIns="111575" bIns="55788">
            <a:spAutoFit/>
          </a:bodyPr>
          <a:lstStyle/>
          <a:p>
            <a:pPr algn="ctr" eaLnBrk="0" hangingPunct="0">
              <a:defRPr/>
            </a:pPr>
            <a:r>
              <a:rPr lang="en-US" sz="1100" b="1">
                <a:solidFill>
                  <a:srgbClr val="FF0000"/>
                </a:solidFill>
                <a:latin typeface="Calibri" pitchFamily="34" charset="0"/>
                <a:cs typeface="Calibri" pitchFamily="34" charset="0"/>
              </a:rPr>
              <a:t>Contains or derived from supplier Confidential Information</a:t>
            </a:r>
          </a:p>
        </p:txBody>
      </p:sp>
    </p:spTree>
  </p:cSld>
  <p:clrMap bg1="lt1" tx1="dk1" bg2="lt2" tx2="dk2" accent1="accent1" accent2="accent2" accent3="accent3" accent4="accent4" accent5="accent5" accent6="accent6" hlink="hlink" folHlink="folHlink"/>
  <p:sldLayoutIdLst>
    <p:sldLayoutId id="2147483661" r:id="rId1"/>
    <p:sldLayoutId id="2147483663" r:id="rId2"/>
    <p:sldLayoutId id="2147483673" r:id="rId3"/>
    <p:sldLayoutId id="2147483662"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4" r:id="rId14"/>
    <p:sldLayoutId id="2147483693" r:id="rId15"/>
    <p:sldLayoutId id="2147483694" r:id="rId16"/>
    <p:sldLayoutId id="2147483682" r:id="rId17"/>
    <p:sldLayoutId id="2147483683" r:id="rId18"/>
    <p:sldLayoutId id="2147483684" r:id="rId19"/>
    <p:sldLayoutId id="2147483685" r:id="rId20"/>
    <p:sldLayoutId id="2147483686" r:id="rId21"/>
    <p:sldLayoutId id="2147483687" r:id="rId22"/>
    <p:sldLayoutId id="2147483688" r:id="rId23"/>
  </p:sldLayoutIdLst>
  <p:txStyles>
    <p:titleStyle>
      <a:lvl1pPr algn="ctr" rtl="0" eaLnBrk="1" fontAlgn="base" hangingPunct="1">
        <a:spcBef>
          <a:spcPct val="0"/>
        </a:spcBef>
        <a:spcAft>
          <a:spcPct val="0"/>
        </a:spcAft>
        <a:defRPr sz="4847" b="1">
          <a:solidFill>
            <a:schemeClr val="accent2"/>
          </a:solidFill>
          <a:latin typeface="Calibri" pitchFamily="34" charset="0"/>
          <a:ea typeface="+mj-ea"/>
          <a:cs typeface="Calibri" pitchFamily="34" charset="0"/>
        </a:defRPr>
      </a:lvl1pPr>
      <a:lvl2pPr algn="ctr" rtl="0" eaLnBrk="1" fontAlgn="base" hangingPunct="1">
        <a:spcBef>
          <a:spcPct val="0"/>
        </a:spcBef>
        <a:spcAft>
          <a:spcPct val="0"/>
        </a:spcAft>
        <a:defRPr sz="4847" b="1">
          <a:solidFill>
            <a:schemeClr val="accent2"/>
          </a:solidFill>
          <a:latin typeface="Neo Sans Intel Medium" pitchFamily="34" charset="0"/>
        </a:defRPr>
      </a:lvl2pPr>
      <a:lvl3pPr algn="ctr" rtl="0" eaLnBrk="1" fontAlgn="base" hangingPunct="1">
        <a:spcBef>
          <a:spcPct val="0"/>
        </a:spcBef>
        <a:spcAft>
          <a:spcPct val="0"/>
        </a:spcAft>
        <a:defRPr sz="4847" b="1">
          <a:solidFill>
            <a:schemeClr val="accent2"/>
          </a:solidFill>
          <a:latin typeface="Neo Sans Intel Medium" pitchFamily="34" charset="0"/>
        </a:defRPr>
      </a:lvl3pPr>
      <a:lvl4pPr algn="ctr" rtl="0" eaLnBrk="1" fontAlgn="base" hangingPunct="1">
        <a:spcBef>
          <a:spcPct val="0"/>
        </a:spcBef>
        <a:spcAft>
          <a:spcPct val="0"/>
        </a:spcAft>
        <a:defRPr sz="4847" b="1">
          <a:solidFill>
            <a:schemeClr val="accent2"/>
          </a:solidFill>
          <a:latin typeface="Neo Sans Intel Medium" pitchFamily="34" charset="0"/>
        </a:defRPr>
      </a:lvl4pPr>
      <a:lvl5pPr algn="ctr" rtl="0" eaLnBrk="1" fontAlgn="base" hangingPunct="1">
        <a:spcBef>
          <a:spcPct val="0"/>
        </a:spcBef>
        <a:spcAft>
          <a:spcPct val="0"/>
        </a:spcAft>
        <a:defRPr sz="4847" b="1">
          <a:solidFill>
            <a:schemeClr val="accent2"/>
          </a:solidFill>
          <a:latin typeface="Neo Sans Intel Medium" pitchFamily="34" charset="0"/>
        </a:defRPr>
      </a:lvl5pPr>
      <a:lvl6pPr marL="554035" algn="ctr" rtl="0" eaLnBrk="1" fontAlgn="base" hangingPunct="1">
        <a:spcBef>
          <a:spcPct val="0"/>
        </a:spcBef>
        <a:spcAft>
          <a:spcPct val="0"/>
        </a:spcAft>
        <a:defRPr sz="4847" b="1">
          <a:solidFill>
            <a:schemeClr val="accent2"/>
          </a:solidFill>
          <a:latin typeface="Neo Sans Intel Medium" pitchFamily="34" charset="0"/>
        </a:defRPr>
      </a:lvl6pPr>
      <a:lvl7pPr marL="1108070" algn="ctr" rtl="0" eaLnBrk="1" fontAlgn="base" hangingPunct="1">
        <a:spcBef>
          <a:spcPct val="0"/>
        </a:spcBef>
        <a:spcAft>
          <a:spcPct val="0"/>
        </a:spcAft>
        <a:defRPr sz="4847" b="1">
          <a:solidFill>
            <a:schemeClr val="accent2"/>
          </a:solidFill>
          <a:latin typeface="Neo Sans Intel Medium" pitchFamily="34" charset="0"/>
        </a:defRPr>
      </a:lvl7pPr>
      <a:lvl8pPr marL="1662105" algn="ctr" rtl="0" eaLnBrk="1" fontAlgn="base" hangingPunct="1">
        <a:spcBef>
          <a:spcPct val="0"/>
        </a:spcBef>
        <a:spcAft>
          <a:spcPct val="0"/>
        </a:spcAft>
        <a:defRPr sz="4847" b="1">
          <a:solidFill>
            <a:schemeClr val="accent2"/>
          </a:solidFill>
          <a:latin typeface="Neo Sans Intel Medium" pitchFamily="34" charset="0"/>
        </a:defRPr>
      </a:lvl8pPr>
      <a:lvl9pPr marL="2216140" algn="ctr" rtl="0" eaLnBrk="1" fontAlgn="base" hangingPunct="1">
        <a:spcBef>
          <a:spcPct val="0"/>
        </a:spcBef>
        <a:spcAft>
          <a:spcPct val="0"/>
        </a:spcAft>
        <a:defRPr sz="4847" b="1">
          <a:solidFill>
            <a:schemeClr val="accent2"/>
          </a:solidFill>
          <a:latin typeface="Neo Sans Intel Medium" pitchFamily="34" charset="0"/>
        </a:defRPr>
      </a:lvl9pPr>
    </p:titleStyle>
    <p:body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p:bodyStyle>
    <p:otherStyle>
      <a:defPPr>
        <a:defRPr lang="en-US"/>
      </a:defPPr>
      <a:lvl1pPr marL="0" algn="l" defTabSz="1108070" rtl="0" eaLnBrk="1" latinLnBrk="0" hangingPunct="1">
        <a:defRPr sz="2181" kern="1200">
          <a:solidFill>
            <a:schemeClr val="tx1"/>
          </a:solidFill>
          <a:latin typeface="+mn-lt"/>
          <a:ea typeface="+mn-ea"/>
          <a:cs typeface="+mn-cs"/>
        </a:defRPr>
      </a:lvl1pPr>
      <a:lvl2pPr marL="554035" algn="l" defTabSz="1108070" rtl="0" eaLnBrk="1" latinLnBrk="0" hangingPunct="1">
        <a:defRPr sz="2181" kern="1200">
          <a:solidFill>
            <a:schemeClr val="tx1"/>
          </a:solidFill>
          <a:latin typeface="+mn-lt"/>
          <a:ea typeface="+mn-ea"/>
          <a:cs typeface="+mn-cs"/>
        </a:defRPr>
      </a:lvl2pPr>
      <a:lvl3pPr marL="1108070" algn="l" defTabSz="1108070" rtl="0" eaLnBrk="1" latinLnBrk="0" hangingPunct="1">
        <a:defRPr sz="2181" kern="1200">
          <a:solidFill>
            <a:schemeClr val="tx1"/>
          </a:solidFill>
          <a:latin typeface="+mn-lt"/>
          <a:ea typeface="+mn-ea"/>
          <a:cs typeface="+mn-cs"/>
        </a:defRPr>
      </a:lvl3pPr>
      <a:lvl4pPr marL="1662105" algn="l" defTabSz="1108070" rtl="0" eaLnBrk="1" latinLnBrk="0" hangingPunct="1">
        <a:defRPr sz="2181" kern="1200">
          <a:solidFill>
            <a:schemeClr val="tx1"/>
          </a:solidFill>
          <a:latin typeface="+mn-lt"/>
          <a:ea typeface="+mn-ea"/>
          <a:cs typeface="+mn-cs"/>
        </a:defRPr>
      </a:lvl4pPr>
      <a:lvl5pPr marL="2216140" algn="l" defTabSz="1108070" rtl="0" eaLnBrk="1" latinLnBrk="0" hangingPunct="1">
        <a:defRPr sz="2181" kern="1200">
          <a:solidFill>
            <a:schemeClr val="tx1"/>
          </a:solidFill>
          <a:latin typeface="+mn-lt"/>
          <a:ea typeface="+mn-ea"/>
          <a:cs typeface="+mn-cs"/>
        </a:defRPr>
      </a:lvl5pPr>
      <a:lvl6pPr marL="2770175" algn="l" defTabSz="1108070" rtl="0" eaLnBrk="1" latinLnBrk="0" hangingPunct="1">
        <a:defRPr sz="2181" kern="1200">
          <a:solidFill>
            <a:schemeClr val="tx1"/>
          </a:solidFill>
          <a:latin typeface="+mn-lt"/>
          <a:ea typeface="+mn-ea"/>
          <a:cs typeface="+mn-cs"/>
        </a:defRPr>
      </a:lvl6pPr>
      <a:lvl7pPr marL="3324210" algn="l" defTabSz="1108070" rtl="0" eaLnBrk="1" latinLnBrk="0" hangingPunct="1">
        <a:defRPr sz="2181" kern="1200">
          <a:solidFill>
            <a:schemeClr val="tx1"/>
          </a:solidFill>
          <a:latin typeface="+mn-lt"/>
          <a:ea typeface="+mn-ea"/>
          <a:cs typeface="+mn-cs"/>
        </a:defRPr>
      </a:lvl7pPr>
      <a:lvl8pPr marL="3878245" algn="l" defTabSz="1108070" rtl="0" eaLnBrk="1" latinLnBrk="0" hangingPunct="1">
        <a:defRPr sz="2181" kern="1200">
          <a:solidFill>
            <a:schemeClr val="tx1"/>
          </a:solidFill>
          <a:latin typeface="+mn-lt"/>
          <a:ea typeface="+mn-ea"/>
          <a:cs typeface="+mn-cs"/>
        </a:defRPr>
      </a:lvl8pPr>
      <a:lvl9pPr marL="4432280" algn="l" defTabSz="1108070" rtl="0" eaLnBrk="1" latinLnBrk="0" hangingPunct="1">
        <a:defRPr sz="218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science.org/doi/epdf/10.1126/science.aam9744" TargetMode="External"/><Relationship Id="rId7"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hyperlink" Target="https://calteches.library.caltech.edu/1976/1/1960Bottom.pdf"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emf"/><Relationship Id="rId2" Type="http://schemas.openxmlformats.org/officeDocument/2006/relationships/image" Target="../media/image47.png"/><Relationship Id="rId1" Type="http://schemas.openxmlformats.org/officeDocument/2006/relationships/slideLayout" Target="../slideLayouts/slideLayout8.xml"/><Relationship Id="rId6" Type="http://schemas.openxmlformats.org/officeDocument/2006/relationships/image" Target="../media/image51.emf"/><Relationship Id="rId5" Type="http://schemas.openxmlformats.org/officeDocument/2006/relationships/image" Target="../media/image50.png"/><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emf"/><Relationship Id="rId2" Type="http://schemas.openxmlformats.org/officeDocument/2006/relationships/image" Target="../media/image47.png"/><Relationship Id="rId1" Type="http://schemas.openxmlformats.org/officeDocument/2006/relationships/slideLayout" Target="../slideLayouts/slideLayout8.xml"/><Relationship Id="rId6" Type="http://schemas.openxmlformats.org/officeDocument/2006/relationships/image" Target="../media/image51.emf"/><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42.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hyperlink" Target="https://www.maltiel-consulting.com/Hynix-DRAM-31Vs44nm-layout.html" TargetMode="External"/><Relationship Id="rId2" Type="http://schemas.openxmlformats.org/officeDocument/2006/relationships/image" Target="../media/image64.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9.xml"/><Relationship Id="rId7" Type="http://schemas.openxmlformats.org/officeDocument/2006/relationships/image" Target="../media/image6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5.emf"/><Relationship Id="rId5" Type="http://schemas.openxmlformats.org/officeDocument/2006/relationships/oleObject" Target="../embeddings/oleObject1.bin"/><Relationship Id="rId10" Type="http://schemas.openxmlformats.org/officeDocument/2006/relationships/image" Target="../media/image69.emf"/><Relationship Id="rId4" Type="http://schemas.openxmlformats.org/officeDocument/2006/relationships/notesSlide" Target="../notesSlides/notesSlide8.xml"/><Relationship Id="rId9" Type="http://schemas.openxmlformats.org/officeDocument/2006/relationships/image" Target="../media/image6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png"/><Relationship Id="rId7" Type="http://schemas.microsoft.com/office/2007/relationships/hdphoto" Target="../media/hdphoto1.wdp"/><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9.png"/><Relationship Id="rId5" Type="http://schemas.openxmlformats.org/officeDocument/2006/relationships/image" Target="../media/image8.jpeg"/><Relationship Id="rId10" Type="http://schemas.openxmlformats.org/officeDocument/2006/relationships/hyperlink" Target="https://doi.org/10.1109/EDTM55494.2023.10102966" TargetMode="External"/><Relationship Id="rId4" Type="http://schemas.openxmlformats.org/officeDocument/2006/relationships/image" Target="../media/image7.jpeg"/><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0DAA30DA-8480-BCE5-BEC5-BCB6DDF62A6C}"/>
              </a:ext>
            </a:extLst>
          </p:cNvPr>
          <p:cNvSpPr txBox="1"/>
          <p:nvPr/>
        </p:nvSpPr>
        <p:spPr>
          <a:xfrm>
            <a:off x="582058" y="489399"/>
            <a:ext cx="6995711" cy="1477328"/>
          </a:xfrm>
          <a:prstGeom prst="rect">
            <a:avLst/>
          </a:prstGeom>
          <a:noFill/>
        </p:spPr>
        <p:txBody>
          <a:bodyPr wrap="square">
            <a:spAutoFit/>
          </a:bodyPr>
          <a:lstStyle/>
          <a:p>
            <a:r>
              <a:rPr lang="en-US" sz="1800" b="1" dirty="0">
                <a:solidFill>
                  <a:srgbClr val="C00000"/>
                </a:solidFill>
                <a:highlight>
                  <a:srgbClr val="FFFF00"/>
                </a:highlight>
                <a:latin typeface="IntelOne Text" panose="020B0503020203020204" pitchFamily="34" charset="77"/>
                <a:cs typeface="Calibri" panose="020F0502020204030204" pitchFamily="34" charset="0"/>
              </a:rPr>
              <a:t>Matrix Multiply-Accumulate (MAC) or Multiply-Add (MAD) </a:t>
            </a:r>
            <a:r>
              <a:rPr lang="en-US" sz="1800" b="1" dirty="0">
                <a:latin typeface="IntelOne Text" panose="020B0503020203020204" pitchFamily="34" charset="77"/>
                <a:cs typeface="Calibri" panose="020F0502020204030204" pitchFamily="34" charset="0"/>
              </a:rPr>
              <a:t>– </a:t>
            </a:r>
          </a:p>
          <a:p>
            <a:r>
              <a:rPr lang="en-US" sz="1800" dirty="0">
                <a:latin typeface="Lucida Console" panose="020B0609040504020204" pitchFamily="49" charset="0"/>
                <a:cs typeface="Calibri" panose="020F0502020204030204" pitchFamily="34" charset="0"/>
              </a:rPr>
              <a:t>  for </a:t>
            </a:r>
            <a:r>
              <a:rPr lang="en-US" sz="1800" dirty="0" err="1">
                <a:latin typeface="Lucida Console" panose="020B0609040504020204" pitchFamily="49" charset="0"/>
                <a:cs typeface="Calibri" panose="020F0502020204030204" pitchFamily="34" charset="0"/>
              </a:rPr>
              <a:t>i</a:t>
            </a:r>
            <a:r>
              <a:rPr lang="en-US" sz="1800" dirty="0">
                <a:latin typeface="Lucida Console" panose="020B0609040504020204" pitchFamily="49" charset="0"/>
                <a:cs typeface="Calibri" panose="020F0502020204030204" pitchFamily="34" charset="0"/>
              </a:rPr>
              <a:t> in </a:t>
            </a:r>
            <a:r>
              <a:rPr lang="en-US" sz="1800" dirty="0" err="1">
                <a:latin typeface="Lucida Console" panose="020B0609040504020204" pitchFamily="49" charset="0"/>
                <a:cs typeface="Calibri" panose="020F0502020204030204" pitchFamily="34" charset="0"/>
              </a:rPr>
              <a:t>xrange</a:t>
            </a:r>
            <a:r>
              <a:rPr lang="en-US" sz="1800" dirty="0">
                <a:latin typeface="Lucida Console" panose="020B0609040504020204" pitchFamily="49" charset="0"/>
                <a:cs typeface="Calibri" panose="020F0502020204030204" pitchFamily="34" charset="0"/>
              </a:rPr>
              <a:t>(4096):</a:t>
            </a:r>
          </a:p>
          <a:p>
            <a:r>
              <a:rPr lang="en-US" sz="1800" dirty="0">
                <a:latin typeface="Lucida Console" panose="020B0609040504020204" pitchFamily="49" charset="0"/>
                <a:cs typeface="Calibri" panose="020F0502020204030204" pitchFamily="34" charset="0"/>
              </a:rPr>
              <a:t>    for j in </a:t>
            </a:r>
            <a:r>
              <a:rPr lang="en-US" sz="1800" dirty="0" err="1">
                <a:latin typeface="Lucida Console" panose="020B0609040504020204" pitchFamily="49" charset="0"/>
                <a:cs typeface="Calibri" panose="020F0502020204030204" pitchFamily="34" charset="0"/>
              </a:rPr>
              <a:t>xrange</a:t>
            </a:r>
            <a:r>
              <a:rPr lang="en-US" sz="1800" dirty="0">
                <a:latin typeface="Lucida Console" panose="020B0609040504020204" pitchFamily="49" charset="0"/>
                <a:cs typeface="Calibri" panose="020F0502020204030204" pitchFamily="34" charset="0"/>
              </a:rPr>
              <a:t>(4096):</a:t>
            </a:r>
          </a:p>
          <a:p>
            <a:r>
              <a:rPr lang="en-US" sz="1800" dirty="0">
                <a:latin typeface="Lucida Console" panose="020B0609040504020204" pitchFamily="49" charset="0"/>
                <a:cs typeface="Calibri" panose="020F0502020204030204" pitchFamily="34" charset="0"/>
              </a:rPr>
              <a:t>        for k in </a:t>
            </a:r>
            <a:r>
              <a:rPr lang="en-US" sz="1800" dirty="0" err="1">
                <a:latin typeface="Lucida Console" panose="020B0609040504020204" pitchFamily="49" charset="0"/>
                <a:cs typeface="Calibri" panose="020F0502020204030204" pitchFamily="34" charset="0"/>
              </a:rPr>
              <a:t>xrange</a:t>
            </a:r>
            <a:r>
              <a:rPr lang="en-US" sz="1800" dirty="0">
                <a:latin typeface="Lucida Console" panose="020B0609040504020204" pitchFamily="49" charset="0"/>
                <a:cs typeface="Calibri" panose="020F0502020204030204" pitchFamily="34" charset="0"/>
              </a:rPr>
              <a:t>(4096):</a:t>
            </a:r>
          </a:p>
          <a:p>
            <a:r>
              <a:rPr lang="en-US" sz="1800" dirty="0">
                <a:latin typeface="Lucida Console" panose="020B0609040504020204" pitchFamily="49" charset="0"/>
                <a:cs typeface="Calibri" panose="020F0502020204030204" pitchFamily="34" charset="0"/>
              </a:rPr>
              <a:t>           C[</a:t>
            </a:r>
            <a:r>
              <a:rPr lang="en-US" sz="1800" dirty="0" err="1">
                <a:latin typeface="Lucida Console" panose="020B0609040504020204" pitchFamily="49" charset="0"/>
                <a:cs typeface="Calibri" panose="020F0502020204030204" pitchFamily="34" charset="0"/>
              </a:rPr>
              <a:t>i</a:t>
            </a:r>
            <a:r>
              <a:rPr lang="en-US" sz="1800" dirty="0">
                <a:latin typeface="Lucida Console" panose="020B0609040504020204" pitchFamily="49" charset="0"/>
                <a:cs typeface="Calibri" panose="020F0502020204030204" pitchFamily="34" charset="0"/>
              </a:rPr>
              <a:t>][j] += A[</a:t>
            </a:r>
            <a:r>
              <a:rPr lang="en-US" sz="1800" dirty="0" err="1">
                <a:latin typeface="Lucida Console" panose="020B0609040504020204" pitchFamily="49" charset="0"/>
                <a:cs typeface="Calibri" panose="020F0502020204030204" pitchFamily="34" charset="0"/>
              </a:rPr>
              <a:t>i</a:t>
            </a:r>
            <a:r>
              <a:rPr lang="en-US" sz="1800" dirty="0">
                <a:latin typeface="Lucida Console" panose="020B0609040504020204" pitchFamily="49" charset="0"/>
                <a:cs typeface="Calibri" panose="020F0502020204030204" pitchFamily="34" charset="0"/>
              </a:rPr>
              <a:t>][k] * B[k][j]</a:t>
            </a:r>
          </a:p>
        </p:txBody>
      </p:sp>
      <p:grpSp>
        <p:nvGrpSpPr>
          <p:cNvPr id="40" name="Group 39">
            <a:extLst>
              <a:ext uri="{FF2B5EF4-FFF2-40B4-BE49-F238E27FC236}">
                <a16:creationId xmlns:a16="http://schemas.microsoft.com/office/drawing/2014/main" id="{4939040F-49D3-ECD7-A066-5BA3A459E3CF}"/>
              </a:ext>
            </a:extLst>
          </p:cNvPr>
          <p:cNvGrpSpPr/>
          <p:nvPr/>
        </p:nvGrpSpPr>
        <p:grpSpPr>
          <a:xfrm>
            <a:off x="582058" y="2082404"/>
            <a:ext cx="11396066" cy="4384789"/>
            <a:chOff x="582058" y="2082404"/>
            <a:chExt cx="11396066" cy="4384789"/>
          </a:xfrm>
        </p:grpSpPr>
        <p:sp>
          <p:nvSpPr>
            <p:cNvPr id="11" name="TextBox 10">
              <a:extLst>
                <a:ext uri="{FF2B5EF4-FFF2-40B4-BE49-F238E27FC236}">
                  <a16:creationId xmlns:a16="http://schemas.microsoft.com/office/drawing/2014/main" id="{77105190-D22D-3E08-C0C8-F9DBA54619B5}"/>
                </a:ext>
              </a:extLst>
            </p:cNvPr>
            <p:cNvSpPr txBox="1"/>
            <p:nvPr/>
          </p:nvSpPr>
          <p:spPr>
            <a:xfrm>
              <a:off x="3219716" y="5636196"/>
              <a:ext cx="8758408" cy="830997"/>
            </a:xfrm>
            <a:prstGeom prst="rect">
              <a:avLst/>
            </a:prstGeom>
            <a:noFill/>
          </p:spPr>
          <p:txBody>
            <a:bodyPr wrap="square">
              <a:spAutoFit/>
            </a:bodyPr>
            <a:lstStyle/>
            <a:p>
              <a:pPr algn="l"/>
              <a:r>
                <a:rPr lang="en-US" sz="1600" b="1" i="0" dirty="0">
                  <a:solidFill>
                    <a:srgbClr val="1A1A1A"/>
                  </a:solidFill>
                  <a:effectLst/>
                  <a:latin typeface="Calibri" panose="020F0502020204030204" pitchFamily="34" charset="0"/>
                  <a:cs typeface="Calibri" panose="020F0502020204030204" pitchFamily="34" charset="0"/>
                </a:rPr>
                <a:t>From “There’s plenty of room at the Top: What will drive computer performance after Moore’s law?” </a:t>
              </a:r>
            </a:p>
            <a:p>
              <a:pPr algn="r"/>
              <a:r>
                <a:rPr lang="en-US" sz="1600" b="1" i="0" dirty="0" err="1">
                  <a:solidFill>
                    <a:srgbClr val="1A1A1A"/>
                  </a:solidFill>
                  <a:effectLst/>
                  <a:latin typeface="Calibri" panose="020F0502020204030204" pitchFamily="34" charset="0"/>
                  <a:cs typeface="Calibri" panose="020F0502020204030204" pitchFamily="34" charset="0"/>
                  <a:hlinkClick r:id="rId3"/>
                </a:rPr>
                <a:t>Leiserson</a:t>
              </a:r>
              <a:r>
                <a:rPr lang="en-US" sz="1600" b="1" i="0" dirty="0">
                  <a:solidFill>
                    <a:srgbClr val="1A1A1A"/>
                  </a:solidFill>
                  <a:effectLst/>
                  <a:latin typeface="Calibri" panose="020F0502020204030204" pitchFamily="34" charset="0"/>
                  <a:cs typeface="Calibri" panose="020F0502020204030204" pitchFamily="34" charset="0"/>
                  <a:hlinkClick r:id="rId3"/>
                </a:rPr>
                <a:t> </a:t>
              </a:r>
              <a:r>
                <a:rPr lang="en-US" sz="1600" b="1" i="1" dirty="0" err="1">
                  <a:solidFill>
                    <a:srgbClr val="1A1A1A"/>
                  </a:solidFill>
                  <a:effectLst/>
                  <a:latin typeface="Calibri" panose="020F0502020204030204" pitchFamily="34" charset="0"/>
                  <a:cs typeface="Calibri" panose="020F0502020204030204" pitchFamily="34" charset="0"/>
                  <a:hlinkClick r:id="rId3"/>
                </a:rPr>
                <a:t>et.al</a:t>
              </a:r>
              <a:r>
                <a:rPr lang="en-US" sz="1600" b="1" i="1" dirty="0">
                  <a:solidFill>
                    <a:srgbClr val="1A1A1A"/>
                  </a:solidFill>
                  <a:effectLst/>
                  <a:latin typeface="Calibri" panose="020F0502020204030204" pitchFamily="34" charset="0"/>
                  <a:cs typeface="Calibri" panose="020F0502020204030204" pitchFamily="34" charset="0"/>
                  <a:hlinkClick r:id="rId3"/>
                </a:rPr>
                <a:t>.</a:t>
              </a:r>
              <a:r>
                <a:rPr lang="en-US" sz="1600" b="1" dirty="0">
                  <a:solidFill>
                    <a:srgbClr val="1A1A1A"/>
                  </a:solidFill>
                  <a:latin typeface="Calibri" panose="020F0502020204030204" pitchFamily="34" charset="0"/>
                  <a:cs typeface="Calibri" panose="020F0502020204030204" pitchFamily="34" charset="0"/>
                  <a:hlinkClick r:id="rId3"/>
                </a:rPr>
                <a:t> </a:t>
              </a:r>
              <a:r>
                <a:rPr lang="en-US" sz="1600" b="1" i="1" dirty="0">
                  <a:solidFill>
                    <a:srgbClr val="1A1A1A"/>
                  </a:solidFill>
                  <a:latin typeface="Calibri" panose="020F0502020204030204" pitchFamily="34" charset="0"/>
                  <a:cs typeface="Calibri" panose="020F0502020204030204" pitchFamily="34" charset="0"/>
                  <a:hlinkClick r:id="rId3"/>
                </a:rPr>
                <a:t>Science</a:t>
              </a:r>
              <a:r>
                <a:rPr lang="en-US" sz="1600" b="1" dirty="0">
                  <a:solidFill>
                    <a:srgbClr val="1A1A1A"/>
                  </a:solidFill>
                  <a:latin typeface="Calibri" panose="020F0502020204030204" pitchFamily="34" charset="0"/>
                  <a:cs typeface="Calibri" panose="020F0502020204030204" pitchFamily="34" charset="0"/>
                  <a:hlinkClick r:id="rId3"/>
                </a:rPr>
                <a:t> 368</a:t>
              </a:r>
              <a:r>
                <a:rPr lang="en-US" sz="1600" b="1" i="0" dirty="0">
                  <a:solidFill>
                    <a:srgbClr val="1A1A1A"/>
                  </a:solidFill>
                  <a:effectLst/>
                  <a:latin typeface="Calibri" panose="020F0502020204030204" pitchFamily="34" charset="0"/>
                  <a:cs typeface="Calibri" panose="020F0502020204030204" pitchFamily="34" charset="0"/>
                  <a:hlinkClick r:id="rId3"/>
                </a:rPr>
                <a:t>, eaam9744 (2020)</a:t>
              </a:r>
              <a:endParaRPr lang="en-US" sz="1600" b="1" i="0" dirty="0">
                <a:solidFill>
                  <a:srgbClr val="1A1A1A"/>
                </a:solidFill>
                <a:effectLst/>
                <a:latin typeface="Calibri" panose="020F0502020204030204" pitchFamily="34" charset="0"/>
                <a:cs typeface="Calibri" panose="020F0502020204030204" pitchFamily="34" charset="0"/>
              </a:endParaRPr>
            </a:p>
            <a:p>
              <a:pPr algn="r"/>
              <a:r>
                <a:rPr lang="en-US" sz="1600" b="1" dirty="0">
                  <a:solidFill>
                    <a:srgbClr val="1A1A1A"/>
                  </a:solidFill>
                  <a:latin typeface="Calibri" panose="020F0502020204030204" pitchFamily="34" charset="0"/>
                  <a:cs typeface="Calibri" panose="020F0502020204030204" pitchFamily="34" charset="0"/>
                </a:rPr>
                <a:t>See also Dick Feynman’s </a:t>
              </a:r>
              <a:r>
                <a:rPr lang="en-US" sz="1600" b="1" dirty="0">
                  <a:solidFill>
                    <a:srgbClr val="1A1A1A"/>
                  </a:solidFill>
                  <a:latin typeface="Calibri" panose="020F0502020204030204" pitchFamily="34" charset="0"/>
                  <a:cs typeface="Calibri" panose="020F0502020204030204" pitchFamily="34" charset="0"/>
                  <a:hlinkClick r:id="rId4"/>
                </a:rPr>
                <a:t>“</a:t>
              </a:r>
              <a:r>
                <a:rPr lang="en-US" sz="1600" b="1" i="1" dirty="0">
                  <a:solidFill>
                    <a:srgbClr val="1A1A1A"/>
                  </a:solidFill>
                  <a:latin typeface="Calibri" panose="020F0502020204030204" pitchFamily="34" charset="0"/>
                  <a:cs typeface="Calibri" panose="020F0502020204030204" pitchFamily="34" charset="0"/>
                  <a:hlinkClick r:id="rId4"/>
                </a:rPr>
                <a:t>There’s plenty of room at the bottom” </a:t>
              </a:r>
              <a:r>
                <a:rPr lang="en-US" sz="1600" b="1" dirty="0">
                  <a:solidFill>
                    <a:srgbClr val="1A1A1A"/>
                  </a:solidFill>
                  <a:latin typeface="Calibri" panose="020F0502020204030204" pitchFamily="34" charset="0"/>
                  <a:cs typeface="Calibri" panose="020F0502020204030204" pitchFamily="34" charset="0"/>
                  <a:hlinkClick r:id="rId4"/>
                </a:rPr>
                <a:t>Eng. Sci.23,22–36 (1960)</a:t>
              </a:r>
              <a:endParaRPr lang="en-US" sz="1600" b="1" dirty="0">
                <a:solidFill>
                  <a:srgbClr val="1A1A1A"/>
                </a:solidFill>
                <a:effectLst/>
                <a:latin typeface="Calibri" panose="020F0502020204030204" pitchFamily="34" charset="0"/>
                <a:cs typeface="Calibri" panose="020F0502020204030204" pitchFamily="34" charset="0"/>
              </a:endParaRPr>
            </a:p>
          </p:txBody>
        </p:sp>
        <p:pic>
          <p:nvPicPr>
            <p:cNvPr id="15" name="Picture 14">
              <a:extLst>
                <a:ext uri="{FF2B5EF4-FFF2-40B4-BE49-F238E27FC236}">
                  <a16:creationId xmlns:a16="http://schemas.microsoft.com/office/drawing/2014/main" id="{B1730295-B683-0D14-DD75-1B81A4AE972B}"/>
                </a:ext>
              </a:extLst>
            </p:cNvPr>
            <p:cNvPicPr>
              <a:picLocks noChangeAspect="1"/>
            </p:cNvPicPr>
            <p:nvPr/>
          </p:nvPicPr>
          <p:blipFill>
            <a:blip r:embed="rId5"/>
            <a:stretch>
              <a:fillRect/>
            </a:stretch>
          </p:blipFill>
          <p:spPr>
            <a:xfrm>
              <a:off x="582058" y="2082404"/>
              <a:ext cx="10324641" cy="2385931"/>
            </a:xfrm>
            <a:prstGeom prst="rect">
              <a:avLst/>
            </a:prstGeom>
          </p:spPr>
        </p:pic>
      </p:grpSp>
      <p:grpSp>
        <p:nvGrpSpPr>
          <p:cNvPr id="34" name="Group 33">
            <a:extLst>
              <a:ext uri="{FF2B5EF4-FFF2-40B4-BE49-F238E27FC236}">
                <a16:creationId xmlns:a16="http://schemas.microsoft.com/office/drawing/2014/main" id="{58193422-A88B-C931-207A-E4DA6D4EE98C}"/>
              </a:ext>
            </a:extLst>
          </p:cNvPr>
          <p:cNvGrpSpPr/>
          <p:nvPr/>
        </p:nvGrpSpPr>
        <p:grpSpPr>
          <a:xfrm>
            <a:off x="9463489" y="509330"/>
            <a:ext cx="2473324" cy="2766039"/>
            <a:chOff x="9463489" y="509330"/>
            <a:chExt cx="2473324" cy="2766039"/>
          </a:xfrm>
        </p:grpSpPr>
        <p:sp>
          <p:nvSpPr>
            <p:cNvPr id="18" name="Left Brace 17">
              <a:extLst>
                <a:ext uri="{FF2B5EF4-FFF2-40B4-BE49-F238E27FC236}">
                  <a16:creationId xmlns:a16="http://schemas.microsoft.com/office/drawing/2014/main" id="{B1787CF2-E877-0EAA-643D-1761EA4231FD}"/>
                </a:ext>
              </a:extLst>
            </p:cNvPr>
            <p:cNvSpPr/>
            <p:nvPr/>
          </p:nvSpPr>
          <p:spPr>
            <a:xfrm flipH="1">
              <a:off x="10421958" y="2944968"/>
              <a:ext cx="248427" cy="330401"/>
            </a:xfrm>
            <a:prstGeom prst="leftBrace">
              <a:avLst>
                <a:gd name="adj1" fmla="val 17549"/>
                <a:gd name="adj2" fmla="val 35573"/>
              </a:avLst>
            </a:prstGeom>
            <a:ln w="571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Rounded Rectangle 22">
              <a:extLst>
                <a:ext uri="{FF2B5EF4-FFF2-40B4-BE49-F238E27FC236}">
                  <a16:creationId xmlns:a16="http://schemas.microsoft.com/office/drawing/2014/main" id="{767B7F8B-A71E-54EA-AA76-D1897984AD67}"/>
                </a:ext>
              </a:extLst>
            </p:cNvPr>
            <p:cNvSpPr/>
            <p:nvPr/>
          </p:nvSpPr>
          <p:spPr>
            <a:xfrm>
              <a:off x="9463489" y="509330"/>
              <a:ext cx="2473324" cy="78765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Calibri" panose="020F0502020204030204" pitchFamily="34" charset="0"/>
                  <a:cs typeface="Calibri" panose="020F0502020204030204" pitchFamily="34" charset="0"/>
                </a:rPr>
                <a:t>Coding Efficiency 47x</a:t>
              </a:r>
            </a:p>
          </p:txBody>
        </p:sp>
        <p:sp>
          <p:nvSpPr>
            <p:cNvPr id="28" name="Freeform 27">
              <a:extLst>
                <a:ext uri="{FF2B5EF4-FFF2-40B4-BE49-F238E27FC236}">
                  <a16:creationId xmlns:a16="http://schemas.microsoft.com/office/drawing/2014/main" id="{121E0E7D-6D94-3F72-ECCC-8478F9141BA7}"/>
                </a:ext>
              </a:extLst>
            </p:cNvPr>
            <p:cNvSpPr/>
            <p:nvPr/>
          </p:nvSpPr>
          <p:spPr>
            <a:xfrm>
              <a:off x="10719412" y="1410159"/>
              <a:ext cx="760887" cy="1630496"/>
            </a:xfrm>
            <a:custGeom>
              <a:avLst/>
              <a:gdLst>
                <a:gd name="connsiteX0" fmla="*/ 0 w 760887"/>
                <a:gd name="connsiteY0" fmla="*/ 0 h 1630496"/>
                <a:gd name="connsiteX1" fmla="*/ 760164 w 760887"/>
                <a:gd name="connsiteY1" fmla="*/ 694063 h 1630496"/>
                <a:gd name="connsiteX2" fmla="*/ 110169 w 760887"/>
                <a:gd name="connsiteY2" fmla="*/ 1630496 h 1630496"/>
              </a:gdLst>
              <a:ahLst/>
              <a:cxnLst>
                <a:cxn ang="0">
                  <a:pos x="connsiteX0" y="connsiteY0"/>
                </a:cxn>
                <a:cxn ang="0">
                  <a:pos x="connsiteX1" y="connsiteY1"/>
                </a:cxn>
                <a:cxn ang="0">
                  <a:pos x="connsiteX2" y="connsiteY2"/>
                </a:cxn>
              </a:cxnLst>
              <a:rect l="l" t="t" r="r" b="b"/>
              <a:pathLst>
                <a:path w="760887" h="1630496">
                  <a:moveTo>
                    <a:pt x="0" y="0"/>
                  </a:moveTo>
                  <a:cubicBezTo>
                    <a:pt x="370901" y="211157"/>
                    <a:pt x="741803" y="422314"/>
                    <a:pt x="760164" y="694063"/>
                  </a:cubicBezTo>
                  <a:cubicBezTo>
                    <a:pt x="778525" y="965812"/>
                    <a:pt x="444347" y="1298154"/>
                    <a:pt x="110169" y="1630496"/>
                  </a:cubicBezTo>
                </a:path>
              </a:pathLst>
            </a:custGeom>
            <a:noFill/>
            <a:ln w="38100">
              <a:solidFill>
                <a:schemeClr val="accent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 name="Group 34">
            <a:extLst>
              <a:ext uri="{FF2B5EF4-FFF2-40B4-BE49-F238E27FC236}">
                <a16:creationId xmlns:a16="http://schemas.microsoft.com/office/drawing/2014/main" id="{779879E7-5F3C-E371-C5FB-BE48B3247695}"/>
              </a:ext>
            </a:extLst>
          </p:cNvPr>
          <p:cNvGrpSpPr/>
          <p:nvPr/>
        </p:nvGrpSpPr>
        <p:grpSpPr>
          <a:xfrm>
            <a:off x="7570641" y="538377"/>
            <a:ext cx="2377590" cy="2998037"/>
            <a:chOff x="7570641" y="538377"/>
            <a:chExt cx="2377590" cy="2998037"/>
          </a:xfrm>
        </p:grpSpPr>
        <p:sp>
          <p:nvSpPr>
            <p:cNvPr id="24" name="Rounded Rectangle 23">
              <a:extLst>
                <a:ext uri="{FF2B5EF4-FFF2-40B4-BE49-F238E27FC236}">
                  <a16:creationId xmlns:a16="http://schemas.microsoft.com/office/drawing/2014/main" id="{DF22458A-26B5-A55E-9C28-F871095ED44C}"/>
                </a:ext>
              </a:extLst>
            </p:cNvPr>
            <p:cNvSpPr/>
            <p:nvPr/>
          </p:nvSpPr>
          <p:spPr>
            <a:xfrm>
              <a:off x="7570641" y="538377"/>
              <a:ext cx="1711324" cy="78765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Calibri" panose="020F0502020204030204" pitchFamily="34" charset="0"/>
                  <a:cs typeface="Calibri" panose="020F0502020204030204" pitchFamily="34" charset="0"/>
                </a:rPr>
                <a:t>Multi-Core 7.8x</a:t>
              </a:r>
            </a:p>
          </p:txBody>
        </p:sp>
        <p:sp>
          <p:nvSpPr>
            <p:cNvPr id="29" name="Freeform 28">
              <a:extLst>
                <a:ext uri="{FF2B5EF4-FFF2-40B4-BE49-F238E27FC236}">
                  <a16:creationId xmlns:a16="http://schemas.microsoft.com/office/drawing/2014/main" id="{F559D3E8-7C82-AD70-A4CD-13809E1D39D8}"/>
                </a:ext>
              </a:extLst>
            </p:cNvPr>
            <p:cNvSpPr/>
            <p:nvPr/>
          </p:nvSpPr>
          <p:spPr>
            <a:xfrm>
              <a:off x="8527055" y="1355075"/>
              <a:ext cx="1421176" cy="2181339"/>
            </a:xfrm>
            <a:custGeom>
              <a:avLst/>
              <a:gdLst>
                <a:gd name="connsiteX0" fmla="*/ 0 w 1740665"/>
                <a:gd name="connsiteY0" fmla="*/ 0 h 2181339"/>
                <a:gd name="connsiteX1" fmla="*/ 451692 w 1740665"/>
                <a:gd name="connsiteY1" fmla="*/ 1233889 h 2181339"/>
                <a:gd name="connsiteX2" fmla="*/ 1740665 w 1740665"/>
                <a:gd name="connsiteY2" fmla="*/ 2181339 h 2181339"/>
              </a:gdLst>
              <a:ahLst/>
              <a:cxnLst>
                <a:cxn ang="0">
                  <a:pos x="connsiteX0" y="connsiteY0"/>
                </a:cxn>
                <a:cxn ang="0">
                  <a:pos x="connsiteX1" y="connsiteY1"/>
                </a:cxn>
                <a:cxn ang="0">
                  <a:pos x="connsiteX2" y="connsiteY2"/>
                </a:cxn>
              </a:cxnLst>
              <a:rect l="l" t="t" r="r" b="b"/>
              <a:pathLst>
                <a:path w="1740665" h="2181339">
                  <a:moveTo>
                    <a:pt x="0" y="0"/>
                  </a:moveTo>
                  <a:cubicBezTo>
                    <a:pt x="80790" y="435166"/>
                    <a:pt x="161581" y="870333"/>
                    <a:pt x="451692" y="1233889"/>
                  </a:cubicBezTo>
                  <a:cubicBezTo>
                    <a:pt x="741803" y="1597445"/>
                    <a:pt x="1241234" y="1889392"/>
                    <a:pt x="1740665" y="2181339"/>
                  </a:cubicBezTo>
                </a:path>
              </a:pathLst>
            </a:custGeom>
            <a:noFill/>
            <a:ln w="38100">
              <a:solidFill>
                <a:schemeClr val="accent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 name="Group 37">
            <a:extLst>
              <a:ext uri="{FF2B5EF4-FFF2-40B4-BE49-F238E27FC236}">
                <a16:creationId xmlns:a16="http://schemas.microsoft.com/office/drawing/2014/main" id="{88DFFAA2-7151-28AB-D387-90C11A49EE06}"/>
              </a:ext>
            </a:extLst>
          </p:cNvPr>
          <p:cNvGrpSpPr/>
          <p:nvPr/>
        </p:nvGrpSpPr>
        <p:grpSpPr>
          <a:xfrm>
            <a:off x="9334996" y="4274545"/>
            <a:ext cx="2601817" cy="1251309"/>
            <a:chOff x="9334996" y="4274545"/>
            <a:chExt cx="2601817" cy="1251309"/>
          </a:xfrm>
        </p:grpSpPr>
        <p:sp>
          <p:nvSpPr>
            <p:cNvPr id="26" name="Rounded Rectangle 25">
              <a:extLst>
                <a:ext uri="{FF2B5EF4-FFF2-40B4-BE49-F238E27FC236}">
                  <a16:creationId xmlns:a16="http://schemas.microsoft.com/office/drawing/2014/main" id="{D241818A-3BD6-7BD4-2585-38CEF460C348}"/>
                </a:ext>
              </a:extLst>
            </p:cNvPr>
            <p:cNvSpPr/>
            <p:nvPr/>
          </p:nvSpPr>
          <p:spPr>
            <a:xfrm>
              <a:off x="9334996" y="4738202"/>
              <a:ext cx="2601817" cy="78765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Calibri" panose="020F0502020204030204" pitchFamily="34" charset="0"/>
                  <a:cs typeface="Calibri" panose="020F0502020204030204" pitchFamily="34" charset="0"/>
                </a:rPr>
                <a:t>2.7x</a:t>
              </a:r>
            </a:p>
            <a:p>
              <a:pPr algn="ctr"/>
              <a:r>
                <a:rPr lang="en-US" sz="2400" dirty="0">
                  <a:latin typeface="Calibri" panose="020F0502020204030204" pitchFamily="34" charset="0"/>
                  <a:cs typeface="Calibri" panose="020F0502020204030204" pitchFamily="34" charset="0"/>
                </a:rPr>
                <a:t>ISA Optimization</a:t>
              </a:r>
            </a:p>
          </p:txBody>
        </p:sp>
        <p:sp>
          <p:nvSpPr>
            <p:cNvPr id="30" name="Freeform 29">
              <a:extLst>
                <a:ext uri="{FF2B5EF4-FFF2-40B4-BE49-F238E27FC236}">
                  <a16:creationId xmlns:a16="http://schemas.microsoft.com/office/drawing/2014/main" id="{3A8223EF-3544-D4E0-9B85-2E18E7F7D986}"/>
                </a:ext>
              </a:extLst>
            </p:cNvPr>
            <p:cNvSpPr/>
            <p:nvPr/>
          </p:nvSpPr>
          <p:spPr>
            <a:xfrm>
              <a:off x="10432973" y="4274545"/>
              <a:ext cx="1200839" cy="418641"/>
            </a:xfrm>
            <a:custGeom>
              <a:avLst/>
              <a:gdLst>
                <a:gd name="connsiteX0" fmla="*/ 1200839 w 1200839"/>
                <a:gd name="connsiteY0" fmla="*/ 418641 h 418641"/>
                <a:gd name="connsiteX1" fmla="*/ 947451 w 1200839"/>
                <a:gd name="connsiteY1" fmla="*/ 88135 h 418641"/>
                <a:gd name="connsiteX2" fmla="*/ 0 w 1200839"/>
                <a:gd name="connsiteY2" fmla="*/ 0 h 418641"/>
              </a:gdLst>
              <a:ahLst/>
              <a:cxnLst>
                <a:cxn ang="0">
                  <a:pos x="connsiteX0" y="connsiteY0"/>
                </a:cxn>
                <a:cxn ang="0">
                  <a:pos x="connsiteX1" y="connsiteY1"/>
                </a:cxn>
                <a:cxn ang="0">
                  <a:pos x="connsiteX2" y="connsiteY2"/>
                </a:cxn>
              </a:cxnLst>
              <a:rect l="l" t="t" r="r" b="b"/>
              <a:pathLst>
                <a:path w="1200839" h="418641">
                  <a:moveTo>
                    <a:pt x="1200839" y="418641"/>
                  </a:moveTo>
                  <a:cubicBezTo>
                    <a:pt x="1174215" y="288274"/>
                    <a:pt x="1147591" y="157908"/>
                    <a:pt x="947451" y="88135"/>
                  </a:cubicBezTo>
                  <a:cubicBezTo>
                    <a:pt x="747311" y="18362"/>
                    <a:pt x="373655" y="9181"/>
                    <a:pt x="0" y="0"/>
                  </a:cubicBezTo>
                </a:path>
              </a:pathLst>
            </a:custGeom>
            <a:noFill/>
            <a:ln w="38100">
              <a:solidFill>
                <a:schemeClr val="accent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1A8B8513-B7B5-624C-1BED-07A0BFC81BBD}"/>
              </a:ext>
            </a:extLst>
          </p:cNvPr>
          <p:cNvGrpSpPr/>
          <p:nvPr/>
        </p:nvGrpSpPr>
        <p:grpSpPr>
          <a:xfrm>
            <a:off x="6233710" y="4065224"/>
            <a:ext cx="3714522" cy="1460630"/>
            <a:chOff x="6233710" y="4065224"/>
            <a:chExt cx="3714522" cy="1460630"/>
          </a:xfrm>
        </p:grpSpPr>
        <p:sp>
          <p:nvSpPr>
            <p:cNvPr id="25" name="Rounded Rectangle 24">
              <a:extLst>
                <a:ext uri="{FF2B5EF4-FFF2-40B4-BE49-F238E27FC236}">
                  <a16:creationId xmlns:a16="http://schemas.microsoft.com/office/drawing/2014/main" id="{75AD82C5-FE24-4B1E-2D66-541C860A7D82}"/>
                </a:ext>
              </a:extLst>
            </p:cNvPr>
            <p:cNvSpPr/>
            <p:nvPr/>
          </p:nvSpPr>
          <p:spPr>
            <a:xfrm>
              <a:off x="6233710" y="4738202"/>
              <a:ext cx="2601817" cy="78765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Calibri" panose="020F0502020204030204" pitchFamily="34" charset="0"/>
                  <a:cs typeface="Calibri" panose="020F0502020204030204" pitchFamily="34" charset="0"/>
                </a:rPr>
                <a:t>3.5x</a:t>
              </a:r>
            </a:p>
            <a:p>
              <a:pPr algn="ctr"/>
              <a:r>
                <a:rPr lang="en-US" sz="2400" dirty="0">
                  <a:latin typeface="Calibri" panose="020F0502020204030204" pitchFamily="34" charset="0"/>
                  <a:cs typeface="Calibri" panose="020F0502020204030204" pitchFamily="34" charset="0"/>
                </a:rPr>
                <a:t>Vector Processing</a:t>
              </a:r>
            </a:p>
          </p:txBody>
        </p:sp>
        <p:sp>
          <p:nvSpPr>
            <p:cNvPr id="31" name="Freeform 30">
              <a:extLst>
                <a:ext uri="{FF2B5EF4-FFF2-40B4-BE49-F238E27FC236}">
                  <a16:creationId xmlns:a16="http://schemas.microsoft.com/office/drawing/2014/main" id="{CD0B16DF-21A5-54CB-475E-B5E29C8EED97}"/>
                </a:ext>
              </a:extLst>
            </p:cNvPr>
            <p:cNvSpPr/>
            <p:nvPr/>
          </p:nvSpPr>
          <p:spPr>
            <a:xfrm>
              <a:off x="8695982" y="4065224"/>
              <a:ext cx="1252250" cy="594911"/>
            </a:xfrm>
            <a:custGeom>
              <a:avLst/>
              <a:gdLst>
                <a:gd name="connsiteX0" fmla="*/ 18361 w 1340385"/>
                <a:gd name="connsiteY0" fmla="*/ 594911 h 594911"/>
                <a:gd name="connsiteX1" fmla="*/ 183614 w 1340385"/>
                <a:gd name="connsiteY1" fmla="*/ 253388 h 594911"/>
                <a:gd name="connsiteX2" fmla="*/ 1340385 w 1340385"/>
                <a:gd name="connsiteY2" fmla="*/ 0 h 594911"/>
              </a:gdLst>
              <a:ahLst/>
              <a:cxnLst>
                <a:cxn ang="0">
                  <a:pos x="connsiteX0" y="connsiteY0"/>
                </a:cxn>
                <a:cxn ang="0">
                  <a:pos x="connsiteX1" y="connsiteY1"/>
                </a:cxn>
                <a:cxn ang="0">
                  <a:pos x="connsiteX2" y="connsiteY2"/>
                </a:cxn>
              </a:cxnLst>
              <a:rect l="l" t="t" r="r" b="b"/>
              <a:pathLst>
                <a:path w="1340385" h="594911">
                  <a:moveTo>
                    <a:pt x="18361" y="594911"/>
                  </a:moveTo>
                  <a:cubicBezTo>
                    <a:pt x="-9181" y="473725"/>
                    <a:pt x="-36723" y="352540"/>
                    <a:pt x="183614" y="253388"/>
                  </a:cubicBezTo>
                  <a:cubicBezTo>
                    <a:pt x="403951" y="154236"/>
                    <a:pt x="872168" y="77118"/>
                    <a:pt x="1340385" y="0"/>
                  </a:cubicBezTo>
                </a:path>
              </a:pathLst>
            </a:custGeom>
            <a:noFill/>
            <a:ln w="38100">
              <a:solidFill>
                <a:schemeClr val="accent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a:extLst>
              <a:ext uri="{FF2B5EF4-FFF2-40B4-BE49-F238E27FC236}">
                <a16:creationId xmlns:a16="http://schemas.microsoft.com/office/drawing/2014/main" id="{47355208-C93B-3BEF-3732-C165E5282F55}"/>
              </a:ext>
            </a:extLst>
          </p:cNvPr>
          <p:cNvGrpSpPr/>
          <p:nvPr/>
        </p:nvGrpSpPr>
        <p:grpSpPr>
          <a:xfrm>
            <a:off x="1918808" y="3767768"/>
            <a:ext cx="7930272" cy="1758086"/>
            <a:chOff x="1918808" y="3767768"/>
            <a:chExt cx="7930272" cy="1758086"/>
          </a:xfrm>
        </p:grpSpPr>
        <p:sp>
          <p:nvSpPr>
            <p:cNvPr id="27" name="Rounded Rectangle 26">
              <a:extLst>
                <a:ext uri="{FF2B5EF4-FFF2-40B4-BE49-F238E27FC236}">
                  <a16:creationId xmlns:a16="http://schemas.microsoft.com/office/drawing/2014/main" id="{C9EF1DB1-0630-B041-321F-BB203EF0461E}"/>
                </a:ext>
              </a:extLst>
            </p:cNvPr>
            <p:cNvSpPr/>
            <p:nvPr/>
          </p:nvSpPr>
          <p:spPr>
            <a:xfrm>
              <a:off x="1918808" y="4738202"/>
              <a:ext cx="2601817" cy="78765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Calibri" panose="020F0502020204030204" pitchFamily="34" charset="0"/>
                  <a:cs typeface="Calibri" panose="020F0502020204030204" pitchFamily="34" charset="0"/>
                </a:rPr>
                <a:t>18.4x</a:t>
              </a:r>
            </a:p>
            <a:p>
              <a:pPr algn="ctr"/>
              <a:r>
                <a:rPr lang="en-US" sz="2400" dirty="0">
                  <a:latin typeface="Calibri" panose="020F0502020204030204" pitchFamily="34" charset="0"/>
                  <a:cs typeface="Calibri" panose="020F0502020204030204" pitchFamily="34" charset="0"/>
                </a:rPr>
                <a:t>Memory Hierarchy</a:t>
              </a:r>
            </a:p>
          </p:txBody>
        </p:sp>
        <p:sp>
          <p:nvSpPr>
            <p:cNvPr id="33" name="Freeform 32">
              <a:extLst>
                <a:ext uri="{FF2B5EF4-FFF2-40B4-BE49-F238E27FC236}">
                  <a16:creationId xmlns:a16="http://schemas.microsoft.com/office/drawing/2014/main" id="{E5AA484F-ABB7-2FC3-D634-2546C6C17632}"/>
                </a:ext>
              </a:extLst>
            </p:cNvPr>
            <p:cNvSpPr/>
            <p:nvPr/>
          </p:nvSpPr>
          <p:spPr>
            <a:xfrm>
              <a:off x="2853369" y="3767768"/>
              <a:ext cx="6995711" cy="925417"/>
            </a:xfrm>
            <a:custGeom>
              <a:avLst/>
              <a:gdLst>
                <a:gd name="connsiteX0" fmla="*/ 0 w 6995711"/>
                <a:gd name="connsiteY0" fmla="*/ 848298 h 848298"/>
                <a:gd name="connsiteX1" fmla="*/ 1553378 w 6995711"/>
                <a:gd name="connsiteY1" fmla="*/ 319489 h 848298"/>
                <a:gd name="connsiteX2" fmla="*/ 6995711 w 6995711"/>
                <a:gd name="connsiteY2" fmla="*/ 0 h 848298"/>
              </a:gdLst>
              <a:ahLst/>
              <a:cxnLst>
                <a:cxn ang="0">
                  <a:pos x="connsiteX0" y="connsiteY0"/>
                </a:cxn>
                <a:cxn ang="0">
                  <a:pos x="connsiteX1" y="connsiteY1"/>
                </a:cxn>
                <a:cxn ang="0">
                  <a:pos x="connsiteX2" y="connsiteY2"/>
                </a:cxn>
              </a:cxnLst>
              <a:rect l="l" t="t" r="r" b="b"/>
              <a:pathLst>
                <a:path w="6995711" h="848298">
                  <a:moveTo>
                    <a:pt x="0" y="848298"/>
                  </a:moveTo>
                  <a:cubicBezTo>
                    <a:pt x="193713" y="654585"/>
                    <a:pt x="387426" y="460872"/>
                    <a:pt x="1553378" y="319489"/>
                  </a:cubicBezTo>
                  <a:cubicBezTo>
                    <a:pt x="2719330" y="178106"/>
                    <a:pt x="4857520" y="89053"/>
                    <a:pt x="6995711" y="0"/>
                  </a:cubicBezTo>
                </a:path>
              </a:pathLst>
            </a:custGeom>
            <a:noFill/>
            <a:ln w="38100">
              <a:solidFill>
                <a:schemeClr val="accent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Rounded Rectangle 38">
            <a:extLst>
              <a:ext uri="{FF2B5EF4-FFF2-40B4-BE49-F238E27FC236}">
                <a16:creationId xmlns:a16="http://schemas.microsoft.com/office/drawing/2014/main" id="{DC3A943A-17AC-228A-450E-801A8AC26A09}"/>
              </a:ext>
            </a:extLst>
          </p:cNvPr>
          <p:cNvSpPr/>
          <p:nvPr/>
        </p:nvSpPr>
        <p:spPr>
          <a:xfrm>
            <a:off x="1918808" y="4738202"/>
            <a:ext cx="2601817" cy="78765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Calibri" panose="020F0502020204030204" pitchFamily="34" charset="0"/>
                <a:cs typeface="Calibri" panose="020F0502020204030204" pitchFamily="34" charset="0"/>
              </a:rPr>
              <a:t>18.4x</a:t>
            </a:r>
          </a:p>
          <a:p>
            <a:pPr algn="ctr"/>
            <a:r>
              <a:rPr lang="en-US" sz="2400" dirty="0">
                <a:latin typeface="Calibri" panose="020F0502020204030204" pitchFamily="34" charset="0"/>
                <a:cs typeface="Calibri" panose="020F0502020204030204" pitchFamily="34" charset="0"/>
              </a:rPr>
              <a:t>Memory Hierarchy</a:t>
            </a:r>
          </a:p>
        </p:txBody>
      </p:sp>
      <p:grpSp>
        <p:nvGrpSpPr>
          <p:cNvPr id="45" name="Group 44">
            <a:extLst>
              <a:ext uri="{FF2B5EF4-FFF2-40B4-BE49-F238E27FC236}">
                <a16:creationId xmlns:a16="http://schemas.microsoft.com/office/drawing/2014/main" id="{8F431989-C947-18F6-88BC-4675D435C1E3}"/>
              </a:ext>
            </a:extLst>
          </p:cNvPr>
          <p:cNvGrpSpPr/>
          <p:nvPr/>
        </p:nvGrpSpPr>
        <p:grpSpPr>
          <a:xfrm>
            <a:off x="1432192" y="2077069"/>
            <a:ext cx="8339770" cy="2402357"/>
            <a:chOff x="1432192" y="2077069"/>
            <a:chExt cx="8339770" cy="2402357"/>
          </a:xfrm>
        </p:grpSpPr>
        <p:pic>
          <p:nvPicPr>
            <p:cNvPr id="1026" name="Picture 2">
              <a:extLst>
                <a:ext uri="{FF2B5EF4-FFF2-40B4-BE49-F238E27FC236}">
                  <a16:creationId xmlns:a16="http://schemas.microsoft.com/office/drawing/2014/main" id="{EA172EB6-7933-DBF4-C08A-9A54A72C69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32193" y="2077539"/>
              <a:ext cx="2699784" cy="240188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898341A-24B2-7D91-7631-86DD406F1AB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1977" y="2077538"/>
              <a:ext cx="5562868" cy="2401887"/>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A3236D37-0B1E-3CBF-1CBB-1E4CBF14EFF5}"/>
                </a:ext>
              </a:extLst>
            </p:cNvPr>
            <p:cNvSpPr txBox="1"/>
            <p:nvPr/>
          </p:nvSpPr>
          <p:spPr>
            <a:xfrm>
              <a:off x="4276547" y="4099004"/>
              <a:ext cx="5495415" cy="246221"/>
            </a:xfrm>
            <a:prstGeom prst="rect">
              <a:avLst/>
            </a:prstGeom>
            <a:noFill/>
          </p:spPr>
          <p:txBody>
            <a:bodyPr wrap="none" rtlCol="0">
              <a:spAutoFit/>
            </a:bodyPr>
            <a:lstStyle/>
            <a:p>
              <a:r>
                <a:rPr lang="en-US" sz="1000" i="0" dirty="0">
                  <a:solidFill>
                    <a:srgbClr val="131314"/>
                  </a:solidFill>
                  <a:effectLst/>
                  <a:highlight>
                    <a:srgbClr val="FFFF00"/>
                  </a:highlight>
                  <a:latin typeface="Calibri" panose="020F0502020204030204" pitchFamily="34" charset="0"/>
                  <a:cs typeface="Calibri" panose="020F0502020204030204" pitchFamily="34" charset="0"/>
                </a:rPr>
                <a:t> Upadhyay, </a:t>
              </a:r>
              <a:r>
                <a:rPr lang="en-US" sz="1000" i="1" dirty="0" err="1">
                  <a:solidFill>
                    <a:srgbClr val="131314"/>
                  </a:solidFill>
                  <a:effectLst/>
                  <a:highlight>
                    <a:srgbClr val="FFFF00"/>
                  </a:highlight>
                  <a:latin typeface="Calibri" panose="020F0502020204030204" pitchFamily="34" charset="0"/>
                  <a:cs typeface="Calibri" panose="020F0502020204030204" pitchFamily="34" charset="0"/>
                </a:rPr>
                <a:t>et.al</a:t>
              </a:r>
              <a:r>
                <a:rPr lang="en-US" sz="1000" i="1" dirty="0">
                  <a:solidFill>
                    <a:srgbClr val="131314"/>
                  </a:solidFill>
                  <a:effectLst/>
                  <a:highlight>
                    <a:srgbClr val="FFFF00"/>
                  </a:highlight>
                  <a:latin typeface="Calibri" panose="020F0502020204030204" pitchFamily="34" charset="0"/>
                  <a:cs typeface="Calibri" panose="020F0502020204030204" pitchFamily="34" charset="0"/>
                </a:rPr>
                <a:t>.</a:t>
              </a:r>
              <a:r>
                <a:rPr lang="en-US" sz="1000" i="0" dirty="0">
                  <a:solidFill>
                    <a:srgbClr val="131314"/>
                  </a:solidFill>
                  <a:effectLst/>
                  <a:highlight>
                    <a:srgbClr val="FFFF00"/>
                  </a:highlight>
                  <a:latin typeface="Calibri" panose="020F0502020204030204" pitchFamily="34" charset="0"/>
                  <a:cs typeface="Calibri" panose="020F0502020204030204" pitchFamily="34" charset="0"/>
                </a:rPr>
                <a:t>, Journal of Low Power Electronics, Volume 11, Number 1, March 2015, pp. 37-48(12)</a:t>
              </a:r>
              <a:endParaRPr lang="en-US" sz="1000" dirty="0">
                <a:highlight>
                  <a:srgbClr val="FFFF00"/>
                </a:highlight>
                <a:latin typeface="Calibri" panose="020F0502020204030204" pitchFamily="34" charset="0"/>
                <a:cs typeface="Calibri" panose="020F0502020204030204" pitchFamily="34" charset="0"/>
              </a:endParaRPr>
            </a:p>
          </p:txBody>
        </p:sp>
        <p:sp>
          <p:nvSpPr>
            <p:cNvPr id="44" name="Rectangle 43">
              <a:extLst>
                <a:ext uri="{FF2B5EF4-FFF2-40B4-BE49-F238E27FC236}">
                  <a16:creationId xmlns:a16="http://schemas.microsoft.com/office/drawing/2014/main" id="{CC93BCE4-2051-23E6-B597-3F603F292F12}"/>
                </a:ext>
              </a:extLst>
            </p:cNvPr>
            <p:cNvSpPr/>
            <p:nvPr/>
          </p:nvSpPr>
          <p:spPr>
            <a:xfrm>
              <a:off x="1432192" y="2077069"/>
              <a:ext cx="8273667" cy="2391266"/>
            </a:xfrm>
            <a:custGeom>
              <a:avLst/>
              <a:gdLst>
                <a:gd name="connsiteX0" fmla="*/ 0 w 8273667"/>
                <a:gd name="connsiteY0" fmla="*/ 0 h 2391266"/>
                <a:gd name="connsiteX1" fmla="*/ 606736 w 8273667"/>
                <a:gd name="connsiteY1" fmla="*/ 0 h 2391266"/>
                <a:gd name="connsiteX2" fmla="*/ 1047998 w 8273667"/>
                <a:gd name="connsiteY2" fmla="*/ 0 h 2391266"/>
                <a:gd name="connsiteX3" fmla="*/ 1902943 w 8273667"/>
                <a:gd name="connsiteY3" fmla="*/ 0 h 2391266"/>
                <a:gd name="connsiteX4" fmla="*/ 2509679 w 8273667"/>
                <a:gd name="connsiteY4" fmla="*/ 0 h 2391266"/>
                <a:gd name="connsiteX5" fmla="*/ 3116415 w 8273667"/>
                <a:gd name="connsiteY5" fmla="*/ 0 h 2391266"/>
                <a:gd name="connsiteX6" fmla="*/ 3971360 w 8273667"/>
                <a:gd name="connsiteY6" fmla="*/ 0 h 2391266"/>
                <a:gd name="connsiteX7" fmla="*/ 4495359 w 8273667"/>
                <a:gd name="connsiteY7" fmla="*/ 0 h 2391266"/>
                <a:gd name="connsiteX8" fmla="*/ 5350305 w 8273667"/>
                <a:gd name="connsiteY8" fmla="*/ 0 h 2391266"/>
                <a:gd name="connsiteX9" fmla="*/ 6205250 w 8273667"/>
                <a:gd name="connsiteY9" fmla="*/ 0 h 2391266"/>
                <a:gd name="connsiteX10" fmla="*/ 6894723 w 8273667"/>
                <a:gd name="connsiteY10" fmla="*/ 0 h 2391266"/>
                <a:gd name="connsiteX11" fmla="*/ 8273667 w 8273667"/>
                <a:gd name="connsiteY11" fmla="*/ 0 h 2391266"/>
                <a:gd name="connsiteX12" fmla="*/ 8273667 w 8273667"/>
                <a:gd name="connsiteY12" fmla="*/ 573904 h 2391266"/>
                <a:gd name="connsiteX13" fmla="*/ 8273667 w 8273667"/>
                <a:gd name="connsiteY13" fmla="*/ 1099982 h 2391266"/>
                <a:gd name="connsiteX14" fmla="*/ 8273667 w 8273667"/>
                <a:gd name="connsiteY14" fmla="*/ 1697799 h 2391266"/>
                <a:gd name="connsiteX15" fmla="*/ 8273667 w 8273667"/>
                <a:gd name="connsiteY15" fmla="*/ 2391266 h 2391266"/>
                <a:gd name="connsiteX16" fmla="*/ 7584195 w 8273667"/>
                <a:gd name="connsiteY16" fmla="*/ 2391266 h 2391266"/>
                <a:gd name="connsiteX17" fmla="*/ 6729249 w 8273667"/>
                <a:gd name="connsiteY17" fmla="*/ 2391266 h 2391266"/>
                <a:gd name="connsiteX18" fmla="*/ 6039777 w 8273667"/>
                <a:gd name="connsiteY18" fmla="*/ 2391266 h 2391266"/>
                <a:gd name="connsiteX19" fmla="*/ 5598515 w 8273667"/>
                <a:gd name="connsiteY19" fmla="*/ 2391266 h 2391266"/>
                <a:gd name="connsiteX20" fmla="*/ 5074516 w 8273667"/>
                <a:gd name="connsiteY20" fmla="*/ 2391266 h 2391266"/>
                <a:gd name="connsiteX21" fmla="*/ 4219570 w 8273667"/>
                <a:gd name="connsiteY21" fmla="*/ 2391266 h 2391266"/>
                <a:gd name="connsiteX22" fmla="*/ 3530098 w 8273667"/>
                <a:gd name="connsiteY22" fmla="*/ 2391266 h 2391266"/>
                <a:gd name="connsiteX23" fmla="*/ 3006099 w 8273667"/>
                <a:gd name="connsiteY23" fmla="*/ 2391266 h 2391266"/>
                <a:gd name="connsiteX24" fmla="*/ 2316627 w 8273667"/>
                <a:gd name="connsiteY24" fmla="*/ 2391266 h 2391266"/>
                <a:gd name="connsiteX25" fmla="*/ 1875365 w 8273667"/>
                <a:gd name="connsiteY25" fmla="*/ 2391266 h 2391266"/>
                <a:gd name="connsiteX26" fmla="*/ 1434102 w 8273667"/>
                <a:gd name="connsiteY26" fmla="*/ 2391266 h 2391266"/>
                <a:gd name="connsiteX27" fmla="*/ 744630 w 8273667"/>
                <a:gd name="connsiteY27" fmla="*/ 2391266 h 2391266"/>
                <a:gd name="connsiteX28" fmla="*/ 0 w 8273667"/>
                <a:gd name="connsiteY28" fmla="*/ 2391266 h 2391266"/>
                <a:gd name="connsiteX29" fmla="*/ 0 w 8273667"/>
                <a:gd name="connsiteY29" fmla="*/ 1769537 h 2391266"/>
                <a:gd name="connsiteX30" fmla="*/ 0 w 8273667"/>
                <a:gd name="connsiteY30" fmla="*/ 1195633 h 2391266"/>
                <a:gd name="connsiteX31" fmla="*/ 0 w 8273667"/>
                <a:gd name="connsiteY31" fmla="*/ 669554 h 2391266"/>
                <a:gd name="connsiteX32" fmla="*/ 0 w 8273667"/>
                <a:gd name="connsiteY32" fmla="*/ 0 h 239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273667" h="2391266" extrusionOk="0">
                  <a:moveTo>
                    <a:pt x="0" y="0"/>
                  </a:moveTo>
                  <a:cubicBezTo>
                    <a:pt x="292575" y="-19476"/>
                    <a:pt x="475578" y="-4244"/>
                    <a:pt x="606736" y="0"/>
                  </a:cubicBezTo>
                  <a:cubicBezTo>
                    <a:pt x="737894" y="4244"/>
                    <a:pt x="884562" y="-20294"/>
                    <a:pt x="1047998" y="0"/>
                  </a:cubicBezTo>
                  <a:cubicBezTo>
                    <a:pt x="1211434" y="20294"/>
                    <a:pt x="1491375" y="16573"/>
                    <a:pt x="1902943" y="0"/>
                  </a:cubicBezTo>
                  <a:cubicBezTo>
                    <a:pt x="2314512" y="-16573"/>
                    <a:pt x="2283375" y="-19077"/>
                    <a:pt x="2509679" y="0"/>
                  </a:cubicBezTo>
                  <a:cubicBezTo>
                    <a:pt x="2735983" y="19077"/>
                    <a:pt x="2866247" y="24482"/>
                    <a:pt x="3116415" y="0"/>
                  </a:cubicBezTo>
                  <a:cubicBezTo>
                    <a:pt x="3366583" y="-24482"/>
                    <a:pt x="3682050" y="9775"/>
                    <a:pt x="3971360" y="0"/>
                  </a:cubicBezTo>
                  <a:cubicBezTo>
                    <a:pt x="4260671" y="-9775"/>
                    <a:pt x="4333844" y="18897"/>
                    <a:pt x="4495359" y="0"/>
                  </a:cubicBezTo>
                  <a:cubicBezTo>
                    <a:pt x="4656874" y="-18897"/>
                    <a:pt x="5141361" y="-40162"/>
                    <a:pt x="5350305" y="0"/>
                  </a:cubicBezTo>
                  <a:cubicBezTo>
                    <a:pt x="5559249" y="40162"/>
                    <a:pt x="5814322" y="-36569"/>
                    <a:pt x="6205250" y="0"/>
                  </a:cubicBezTo>
                  <a:cubicBezTo>
                    <a:pt x="6596178" y="36569"/>
                    <a:pt x="6696024" y="-13552"/>
                    <a:pt x="6894723" y="0"/>
                  </a:cubicBezTo>
                  <a:cubicBezTo>
                    <a:pt x="7093422" y="13552"/>
                    <a:pt x="7800484" y="712"/>
                    <a:pt x="8273667" y="0"/>
                  </a:cubicBezTo>
                  <a:cubicBezTo>
                    <a:pt x="8252527" y="248652"/>
                    <a:pt x="8279873" y="400939"/>
                    <a:pt x="8273667" y="573904"/>
                  </a:cubicBezTo>
                  <a:cubicBezTo>
                    <a:pt x="8267461" y="746869"/>
                    <a:pt x="8284205" y="860329"/>
                    <a:pt x="8273667" y="1099982"/>
                  </a:cubicBezTo>
                  <a:cubicBezTo>
                    <a:pt x="8263129" y="1339635"/>
                    <a:pt x="8257556" y="1548597"/>
                    <a:pt x="8273667" y="1697799"/>
                  </a:cubicBezTo>
                  <a:cubicBezTo>
                    <a:pt x="8289778" y="1847001"/>
                    <a:pt x="8290538" y="2226149"/>
                    <a:pt x="8273667" y="2391266"/>
                  </a:cubicBezTo>
                  <a:cubicBezTo>
                    <a:pt x="7932105" y="2388736"/>
                    <a:pt x="7893422" y="2405106"/>
                    <a:pt x="7584195" y="2391266"/>
                  </a:cubicBezTo>
                  <a:cubicBezTo>
                    <a:pt x="7274968" y="2377426"/>
                    <a:pt x="6911459" y="2355953"/>
                    <a:pt x="6729249" y="2391266"/>
                  </a:cubicBezTo>
                  <a:cubicBezTo>
                    <a:pt x="6547039" y="2426579"/>
                    <a:pt x="6292051" y="2420134"/>
                    <a:pt x="6039777" y="2391266"/>
                  </a:cubicBezTo>
                  <a:cubicBezTo>
                    <a:pt x="5787503" y="2362398"/>
                    <a:pt x="5809956" y="2392708"/>
                    <a:pt x="5598515" y="2391266"/>
                  </a:cubicBezTo>
                  <a:cubicBezTo>
                    <a:pt x="5387074" y="2389824"/>
                    <a:pt x="5295624" y="2382257"/>
                    <a:pt x="5074516" y="2391266"/>
                  </a:cubicBezTo>
                  <a:cubicBezTo>
                    <a:pt x="4853408" y="2400275"/>
                    <a:pt x="4574731" y="2369904"/>
                    <a:pt x="4219570" y="2391266"/>
                  </a:cubicBezTo>
                  <a:cubicBezTo>
                    <a:pt x="3864409" y="2412628"/>
                    <a:pt x="3682841" y="2358039"/>
                    <a:pt x="3530098" y="2391266"/>
                  </a:cubicBezTo>
                  <a:cubicBezTo>
                    <a:pt x="3377355" y="2424493"/>
                    <a:pt x="3191549" y="2399701"/>
                    <a:pt x="3006099" y="2391266"/>
                  </a:cubicBezTo>
                  <a:cubicBezTo>
                    <a:pt x="2820649" y="2382831"/>
                    <a:pt x="2645192" y="2396779"/>
                    <a:pt x="2316627" y="2391266"/>
                  </a:cubicBezTo>
                  <a:cubicBezTo>
                    <a:pt x="1988062" y="2385753"/>
                    <a:pt x="2016897" y="2375795"/>
                    <a:pt x="1875365" y="2391266"/>
                  </a:cubicBezTo>
                  <a:cubicBezTo>
                    <a:pt x="1733833" y="2406737"/>
                    <a:pt x="1610026" y="2401109"/>
                    <a:pt x="1434102" y="2391266"/>
                  </a:cubicBezTo>
                  <a:cubicBezTo>
                    <a:pt x="1258178" y="2381423"/>
                    <a:pt x="1064776" y="2384626"/>
                    <a:pt x="744630" y="2391266"/>
                  </a:cubicBezTo>
                  <a:cubicBezTo>
                    <a:pt x="424484" y="2397906"/>
                    <a:pt x="304081" y="2387409"/>
                    <a:pt x="0" y="2391266"/>
                  </a:cubicBezTo>
                  <a:cubicBezTo>
                    <a:pt x="-20539" y="2241444"/>
                    <a:pt x="-24244" y="1970620"/>
                    <a:pt x="0" y="1769537"/>
                  </a:cubicBezTo>
                  <a:cubicBezTo>
                    <a:pt x="24244" y="1568454"/>
                    <a:pt x="2331" y="1450923"/>
                    <a:pt x="0" y="1195633"/>
                  </a:cubicBezTo>
                  <a:cubicBezTo>
                    <a:pt x="-2331" y="940343"/>
                    <a:pt x="2227" y="810208"/>
                    <a:pt x="0" y="669554"/>
                  </a:cubicBezTo>
                  <a:cubicBezTo>
                    <a:pt x="-2227" y="528900"/>
                    <a:pt x="-16317" y="276266"/>
                    <a:pt x="0" y="0"/>
                  </a:cubicBezTo>
                  <a:close/>
                </a:path>
              </a:pathLst>
            </a:custGeom>
            <a:noFill/>
            <a:ln w="152400">
              <a:solidFill>
                <a:srgbClr val="C00000"/>
              </a:solidFill>
              <a:headEnd type="none" w="med" len="med"/>
              <a:tailEnd type="arrow" w="med" len="me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62902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2ED60-C8E5-AD09-331A-1CA66896E0AE}"/>
              </a:ext>
            </a:extLst>
          </p:cNvPr>
          <p:cNvSpPr>
            <a:spLocks noGrp="1"/>
          </p:cNvSpPr>
          <p:nvPr>
            <p:ph type="title"/>
          </p:nvPr>
        </p:nvSpPr>
        <p:spPr/>
        <p:txBody>
          <a:bodyPr/>
          <a:lstStyle/>
          <a:p>
            <a:r>
              <a:rPr lang="en-US" sz="3200" dirty="0"/>
              <a:t>Custom DRAM (</a:t>
            </a:r>
            <a:r>
              <a:rPr lang="en-US" sz="3200" dirty="0" err="1"/>
              <a:t>i</a:t>
            </a:r>
            <a:r>
              <a:rPr lang="en-US" sz="3200" dirty="0"/>
              <a:t>) – MCP for Client Compute</a:t>
            </a:r>
            <a:br>
              <a:rPr lang="en-US" sz="3200" dirty="0"/>
            </a:br>
            <a:r>
              <a:rPr lang="en-US" sz="2000" dirty="0"/>
              <a:t>~60nm 1T1C DRAM (~7nm 6T SRAM eq.) + 14nm Logic  </a:t>
            </a:r>
          </a:p>
        </p:txBody>
      </p:sp>
      <p:pic>
        <p:nvPicPr>
          <p:cNvPr id="3074" name="Picture 2">
            <a:extLst>
              <a:ext uri="{FF2B5EF4-FFF2-40B4-BE49-F238E27FC236}">
                <a16:creationId xmlns:a16="http://schemas.microsoft.com/office/drawing/2014/main" id="{909D2DBD-91B0-7D63-9A54-E23327ECFA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55052" y="3255745"/>
            <a:ext cx="2646759" cy="254088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A81FD23-070A-9DB0-504E-A6E1FA3D00E3}"/>
              </a:ext>
            </a:extLst>
          </p:cNvPr>
          <p:cNvPicPr>
            <a:picLocks noChangeAspect="1"/>
          </p:cNvPicPr>
          <p:nvPr/>
        </p:nvPicPr>
        <p:blipFill>
          <a:blip r:embed="rId4"/>
          <a:stretch>
            <a:fillRect/>
          </a:stretch>
        </p:blipFill>
        <p:spPr>
          <a:xfrm rot="5400000" flipH="1" flipV="1">
            <a:off x="849806" y="1233214"/>
            <a:ext cx="1657249" cy="2049422"/>
          </a:xfrm>
          <a:prstGeom prst="rect">
            <a:avLst/>
          </a:prstGeom>
        </p:spPr>
      </p:pic>
      <p:pic>
        <p:nvPicPr>
          <p:cNvPr id="4" name="Picture 3">
            <a:extLst>
              <a:ext uri="{FF2B5EF4-FFF2-40B4-BE49-F238E27FC236}">
                <a16:creationId xmlns:a16="http://schemas.microsoft.com/office/drawing/2014/main" id="{96809CB4-7215-19FA-2CDB-F6801BF99E86}"/>
              </a:ext>
            </a:extLst>
          </p:cNvPr>
          <p:cNvPicPr>
            <a:picLocks noChangeAspect="1"/>
          </p:cNvPicPr>
          <p:nvPr/>
        </p:nvPicPr>
        <p:blipFill>
          <a:blip r:embed="rId5"/>
          <a:stretch>
            <a:fillRect/>
          </a:stretch>
        </p:blipFill>
        <p:spPr>
          <a:xfrm>
            <a:off x="3797734" y="1554834"/>
            <a:ext cx="3175000" cy="4241800"/>
          </a:xfrm>
          <a:prstGeom prst="rect">
            <a:avLst/>
          </a:prstGeom>
        </p:spPr>
      </p:pic>
      <p:pic>
        <p:nvPicPr>
          <p:cNvPr id="1026" name="Picture 2">
            <a:extLst>
              <a:ext uri="{FF2B5EF4-FFF2-40B4-BE49-F238E27FC236}">
                <a16:creationId xmlns:a16="http://schemas.microsoft.com/office/drawing/2014/main" id="{2CC7B4F2-1B63-314E-7D64-AEC9F504E4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53154" y="1554834"/>
            <a:ext cx="3624446" cy="203674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61056F2-D4AD-2EA1-69BE-1E8CA216DE65}"/>
              </a:ext>
            </a:extLst>
          </p:cNvPr>
          <p:cNvSpPr txBox="1"/>
          <p:nvPr/>
        </p:nvSpPr>
        <p:spPr>
          <a:xfrm>
            <a:off x="7653153" y="1550375"/>
            <a:ext cx="3739951" cy="307777"/>
          </a:xfrm>
          <a:prstGeom prst="rect">
            <a:avLst/>
          </a:prstGeom>
          <a:solidFill>
            <a:schemeClr val="bg1"/>
          </a:solidFill>
        </p:spPr>
        <p:txBody>
          <a:bodyPr wrap="square">
            <a:spAutoFit/>
          </a:bodyPr>
          <a:lstStyle/>
          <a:p>
            <a:pPr algn="ctr" fontAlgn="base"/>
            <a:r>
              <a:rPr lang="en-US" sz="1400" b="0" i="1" dirty="0">
                <a:solidFill>
                  <a:srgbClr val="444444"/>
                </a:solidFill>
                <a:effectLst/>
                <a:latin typeface="inherit"/>
              </a:rPr>
              <a:t>Haswell/Broadwell </a:t>
            </a:r>
            <a:r>
              <a:rPr lang="en-US" sz="1400" b="0" i="1" dirty="0" err="1">
                <a:solidFill>
                  <a:srgbClr val="444444"/>
                </a:solidFill>
                <a:effectLst/>
                <a:latin typeface="inherit"/>
              </a:rPr>
              <a:t>eDRAM</a:t>
            </a:r>
            <a:r>
              <a:rPr lang="en-US" sz="1400" b="0" i="1" dirty="0">
                <a:solidFill>
                  <a:srgbClr val="444444"/>
                </a:solidFill>
                <a:effectLst/>
                <a:latin typeface="inherit"/>
              </a:rPr>
              <a:t> – L4 Cache</a:t>
            </a:r>
            <a:endParaRPr lang="en-US" sz="1400" b="0" i="0" dirty="0">
              <a:solidFill>
                <a:srgbClr val="444444"/>
              </a:solidFill>
              <a:effectLst/>
              <a:latin typeface="Arimo"/>
            </a:endParaRPr>
          </a:p>
        </p:txBody>
      </p:sp>
      <p:pic>
        <p:nvPicPr>
          <p:cNvPr id="1028" name="Picture 4">
            <a:extLst>
              <a:ext uri="{FF2B5EF4-FFF2-40B4-BE49-F238E27FC236}">
                <a16:creationId xmlns:a16="http://schemas.microsoft.com/office/drawing/2014/main" id="{3ABC51F5-D3BA-3741-5D1A-6CA2E0313E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01820" y="3759888"/>
            <a:ext cx="3624446" cy="203674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9BB0EB1-8654-A02F-A799-A6ED2BE7B6A0}"/>
              </a:ext>
            </a:extLst>
          </p:cNvPr>
          <p:cNvSpPr txBox="1"/>
          <p:nvPr/>
        </p:nvSpPr>
        <p:spPr>
          <a:xfrm>
            <a:off x="7486316" y="3759888"/>
            <a:ext cx="3739950" cy="307777"/>
          </a:xfrm>
          <a:prstGeom prst="rect">
            <a:avLst/>
          </a:prstGeom>
          <a:solidFill>
            <a:schemeClr val="bg1"/>
          </a:solidFill>
        </p:spPr>
        <p:txBody>
          <a:bodyPr wrap="square">
            <a:spAutoFit/>
          </a:bodyPr>
          <a:lstStyle/>
          <a:p>
            <a:pPr algn="ctr"/>
            <a:r>
              <a:rPr lang="en-US" sz="1400" b="0" i="1" dirty="0">
                <a:solidFill>
                  <a:srgbClr val="444444"/>
                </a:solidFill>
                <a:effectLst/>
                <a:latin typeface="Arimo"/>
              </a:rPr>
              <a:t>Skylake </a:t>
            </a:r>
            <a:r>
              <a:rPr lang="en-US" sz="1400" b="0" i="1" dirty="0" err="1">
                <a:solidFill>
                  <a:srgbClr val="444444"/>
                </a:solidFill>
                <a:effectLst/>
                <a:latin typeface="Arimo"/>
              </a:rPr>
              <a:t>eDRAM</a:t>
            </a:r>
            <a:r>
              <a:rPr lang="en-US" sz="1400" b="0" i="1" dirty="0">
                <a:solidFill>
                  <a:srgbClr val="444444"/>
                </a:solidFill>
                <a:effectLst/>
                <a:latin typeface="Arimo"/>
              </a:rPr>
              <a:t> – Memory Side Cache</a:t>
            </a:r>
            <a:endParaRPr lang="en-US" sz="1400" dirty="0"/>
          </a:p>
        </p:txBody>
      </p:sp>
    </p:spTree>
    <p:extLst>
      <p:ext uri="{BB962C8B-B14F-4D97-AF65-F5344CB8AC3E}">
        <p14:creationId xmlns:p14="http://schemas.microsoft.com/office/powerpoint/2010/main" val="3928458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AEC20FA-0669-CB26-1383-44263BFF4982}"/>
              </a:ext>
            </a:extLst>
          </p:cNvPr>
          <p:cNvPicPr>
            <a:picLocks noChangeAspect="1"/>
          </p:cNvPicPr>
          <p:nvPr/>
        </p:nvPicPr>
        <p:blipFill>
          <a:blip r:embed="rId2"/>
          <a:stretch>
            <a:fillRect/>
          </a:stretch>
        </p:blipFill>
        <p:spPr>
          <a:xfrm>
            <a:off x="1492710" y="872731"/>
            <a:ext cx="2374900" cy="1333500"/>
          </a:xfrm>
          <a:prstGeom prst="rect">
            <a:avLst/>
          </a:prstGeom>
        </p:spPr>
      </p:pic>
      <p:pic>
        <p:nvPicPr>
          <p:cNvPr id="11" name="Picture 10">
            <a:extLst>
              <a:ext uri="{FF2B5EF4-FFF2-40B4-BE49-F238E27FC236}">
                <a16:creationId xmlns:a16="http://schemas.microsoft.com/office/drawing/2014/main" id="{1DDF0D5A-9945-A26F-33D0-A6714D78F644}"/>
              </a:ext>
            </a:extLst>
          </p:cNvPr>
          <p:cNvPicPr>
            <a:picLocks noChangeAspect="1"/>
          </p:cNvPicPr>
          <p:nvPr/>
        </p:nvPicPr>
        <p:blipFill>
          <a:blip r:embed="rId3"/>
          <a:stretch>
            <a:fillRect/>
          </a:stretch>
        </p:blipFill>
        <p:spPr>
          <a:xfrm>
            <a:off x="3895643" y="1160609"/>
            <a:ext cx="7181354" cy="4512058"/>
          </a:xfrm>
          <a:prstGeom prst="rect">
            <a:avLst/>
          </a:prstGeom>
        </p:spPr>
      </p:pic>
      <p:sp>
        <p:nvSpPr>
          <p:cNvPr id="2" name="Title 1">
            <a:extLst>
              <a:ext uri="{FF2B5EF4-FFF2-40B4-BE49-F238E27FC236}">
                <a16:creationId xmlns:a16="http://schemas.microsoft.com/office/drawing/2014/main" id="{56AFFD59-4CAF-44DB-78FD-880A81078BAB}"/>
              </a:ext>
            </a:extLst>
          </p:cNvPr>
          <p:cNvSpPr>
            <a:spLocks noGrp="1"/>
          </p:cNvSpPr>
          <p:nvPr>
            <p:ph type="title"/>
          </p:nvPr>
        </p:nvSpPr>
        <p:spPr/>
        <p:txBody>
          <a:bodyPr/>
          <a:lstStyle/>
          <a:p>
            <a:r>
              <a:rPr lang="en-US" sz="3200" dirty="0"/>
              <a:t>Custom DRAM (ii) – Cryptographic Hashing </a:t>
            </a:r>
          </a:p>
        </p:txBody>
      </p:sp>
      <p:pic>
        <p:nvPicPr>
          <p:cNvPr id="5" name="Picture 4">
            <a:extLst>
              <a:ext uri="{FF2B5EF4-FFF2-40B4-BE49-F238E27FC236}">
                <a16:creationId xmlns:a16="http://schemas.microsoft.com/office/drawing/2014/main" id="{8F3EA7C6-E5A4-7A7D-C6A8-66F33949305E}"/>
              </a:ext>
            </a:extLst>
          </p:cNvPr>
          <p:cNvPicPr>
            <a:picLocks noChangeAspect="1"/>
          </p:cNvPicPr>
          <p:nvPr/>
        </p:nvPicPr>
        <p:blipFill>
          <a:blip r:embed="rId4"/>
          <a:stretch>
            <a:fillRect/>
          </a:stretch>
        </p:blipFill>
        <p:spPr>
          <a:xfrm rot="5400000">
            <a:off x="609974" y="2163893"/>
            <a:ext cx="2133600" cy="2083594"/>
          </a:xfrm>
          <a:prstGeom prst="rect">
            <a:avLst/>
          </a:prstGeom>
        </p:spPr>
      </p:pic>
      <p:pic>
        <p:nvPicPr>
          <p:cNvPr id="4" name="Picture 3">
            <a:extLst>
              <a:ext uri="{FF2B5EF4-FFF2-40B4-BE49-F238E27FC236}">
                <a16:creationId xmlns:a16="http://schemas.microsoft.com/office/drawing/2014/main" id="{57CC1BD2-558C-59DC-DA2E-3F0A013B2D54}"/>
              </a:ext>
            </a:extLst>
          </p:cNvPr>
          <p:cNvPicPr>
            <a:picLocks noChangeAspect="1"/>
          </p:cNvPicPr>
          <p:nvPr/>
        </p:nvPicPr>
        <p:blipFill>
          <a:blip r:embed="rId5"/>
          <a:stretch>
            <a:fillRect/>
          </a:stretch>
        </p:blipFill>
        <p:spPr>
          <a:xfrm rot="10800000">
            <a:off x="1442642" y="4119809"/>
            <a:ext cx="2107630" cy="1510553"/>
          </a:xfrm>
          <a:prstGeom prst="rect">
            <a:avLst/>
          </a:prstGeom>
        </p:spPr>
      </p:pic>
      <p:pic>
        <p:nvPicPr>
          <p:cNvPr id="6" name="Picture 5">
            <a:extLst>
              <a:ext uri="{FF2B5EF4-FFF2-40B4-BE49-F238E27FC236}">
                <a16:creationId xmlns:a16="http://schemas.microsoft.com/office/drawing/2014/main" id="{64A96A67-4410-876A-44BF-6537ADC6102B}"/>
              </a:ext>
            </a:extLst>
          </p:cNvPr>
          <p:cNvPicPr>
            <a:picLocks noChangeAspect="1"/>
          </p:cNvPicPr>
          <p:nvPr/>
        </p:nvPicPr>
        <p:blipFill>
          <a:blip r:embed="rId6"/>
          <a:stretch>
            <a:fillRect/>
          </a:stretch>
        </p:blipFill>
        <p:spPr>
          <a:xfrm>
            <a:off x="2209800" y="1012172"/>
            <a:ext cx="7772400" cy="3317982"/>
          </a:xfrm>
          <a:prstGeom prst="rect">
            <a:avLst/>
          </a:prstGeom>
        </p:spPr>
      </p:pic>
      <p:graphicFrame>
        <p:nvGraphicFramePr>
          <p:cNvPr id="8" name="Table 7">
            <a:extLst>
              <a:ext uri="{FF2B5EF4-FFF2-40B4-BE49-F238E27FC236}">
                <a16:creationId xmlns:a16="http://schemas.microsoft.com/office/drawing/2014/main" id="{AD35C20C-9009-66F4-7AA2-EFECA4B606D9}"/>
              </a:ext>
            </a:extLst>
          </p:cNvPr>
          <p:cNvGraphicFramePr>
            <a:graphicFrameLocks noGrp="1"/>
          </p:cNvGraphicFramePr>
          <p:nvPr>
            <p:extLst>
              <p:ext uri="{D42A27DB-BD31-4B8C-83A1-F6EECF244321}">
                <p14:modId xmlns:p14="http://schemas.microsoft.com/office/powerpoint/2010/main" val="2480093269"/>
              </p:ext>
            </p:extLst>
          </p:nvPr>
        </p:nvGraphicFramePr>
        <p:xfrm>
          <a:off x="2496457" y="858883"/>
          <a:ext cx="7199086" cy="1188720"/>
        </p:xfrm>
        <a:graphic>
          <a:graphicData uri="http://schemas.openxmlformats.org/drawingml/2006/table">
            <a:tbl>
              <a:tblPr firstRow="1" bandRow="1">
                <a:tableStyleId>{21E4AEA4-8DFA-4A89-87EB-49C32662AFE0}</a:tableStyleId>
              </a:tblPr>
              <a:tblGrid>
                <a:gridCol w="3599543">
                  <a:extLst>
                    <a:ext uri="{9D8B030D-6E8A-4147-A177-3AD203B41FA5}">
                      <a16:colId xmlns:a16="http://schemas.microsoft.com/office/drawing/2014/main" val="972112550"/>
                    </a:ext>
                  </a:extLst>
                </a:gridCol>
                <a:gridCol w="3599543">
                  <a:extLst>
                    <a:ext uri="{9D8B030D-6E8A-4147-A177-3AD203B41FA5}">
                      <a16:colId xmlns:a16="http://schemas.microsoft.com/office/drawing/2014/main" val="176549314"/>
                    </a:ext>
                  </a:extLst>
                </a:gridCol>
              </a:tblGrid>
              <a:tr h="370840">
                <a:tc gridSpan="2">
                  <a:txBody>
                    <a:bodyPr/>
                    <a:lstStyle/>
                    <a:p>
                      <a:pPr algn="ctr"/>
                      <a:r>
                        <a:rPr lang="en-US" sz="2000" dirty="0">
                          <a:latin typeface="Calibri" panose="020F0502020204030204" pitchFamily="34" charset="0"/>
                          <a:cs typeface="Calibri" panose="020F0502020204030204" pitchFamily="34" charset="0"/>
                        </a:rPr>
                        <a:t>Mixed </a:t>
                      </a:r>
                      <a:r>
                        <a:rPr lang="en-US" sz="2000" dirty="0" err="1">
                          <a:latin typeface="Calibri" panose="020F0502020204030204" pitchFamily="34" charset="0"/>
                          <a:cs typeface="Calibri" panose="020F0502020204030204" pitchFamily="34" charset="0"/>
                        </a:rPr>
                        <a:t>SiFO</a:t>
                      </a:r>
                      <a:r>
                        <a:rPr lang="en-US" sz="2000" dirty="0">
                          <a:latin typeface="Calibri" panose="020F0502020204030204" pitchFamily="34" charset="0"/>
                          <a:cs typeface="Calibri" panose="020F0502020204030204" pitchFamily="34" charset="0"/>
                        </a:rPr>
                        <a:t>/OSA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dirty="0"/>
                    </a:p>
                  </a:txBody>
                  <a:tcPr/>
                </a:tc>
                <a:extLst>
                  <a:ext uri="{0D108BD9-81ED-4DB2-BD59-A6C34878D82A}">
                    <a16:rowId xmlns:a16="http://schemas.microsoft.com/office/drawing/2014/main" val="1322919363"/>
                  </a:ext>
                </a:extLst>
              </a:tr>
              <a:tr h="370840">
                <a:tc>
                  <a:txBody>
                    <a:bodyPr/>
                    <a:lstStyle/>
                    <a:p>
                      <a:pPr algn="l"/>
                      <a:r>
                        <a:rPr lang="en-US" sz="2000" dirty="0">
                          <a:latin typeface="Calibri" panose="020F0502020204030204" pitchFamily="34" charset="0"/>
                          <a:cs typeface="Calibri" panose="020F0502020204030204" pitchFamily="34" charset="0"/>
                        </a:rPr>
                        <a:t>PSMC 30nm DRAM</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l"/>
                      <a:r>
                        <a:rPr lang="en-US" sz="2000" dirty="0">
                          <a:latin typeface="Calibri" panose="020F0502020204030204" pitchFamily="34" charset="0"/>
                          <a:cs typeface="Calibri" panose="020F0502020204030204" pitchFamily="34" charset="0"/>
                        </a:rPr>
                        <a:t>Logic: SMIC 40nm</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60542174"/>
                  </a:ext>
                </a:extLst>
              </a:tr>
              <a:tr h="370840">
                <a:tc>
                  <a:txBody>
                    <a:bodyPr/>
                    <a:lstStyle/>
                    <a:p>
                      <a:pPr algn="l"/>
                      <a:r>
                        <a:rPr lang="en-US" sz="2000" dirty="0">
                          <a:latin typeface="Calibri" panose="020F0502020204030204" pitchFamily="34" charset="0"/>
                          <a:cs typeface="Calibri" panose="020F0502020204030204" pitchFamily="34" charset="0"/>
                        </a:rPr>
                        <a:t>3DIC: XMC WoW HBI2.25µ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2000" dirty="0">
                          <a:latin typeface="Calibri" panose="020F0502020204030204" pitchFamily="34" charset="0"/>
                          <a:cs typeface="Calibri" panose="020F0502020204030204" pitchFamily="34" charset="0"/>
                        </a:rPr>
                        <a:t>C4 A/T: A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31634412"/>
                  </a:ext>
                </a:extLst>
              </a:tr>
            </a:tbl>
          </a:graphicData>
        </a:graphic>
      </p:graphicFrame>
      <p:pic>
        <p:nvPicPr>
          <p:cNvPr id="9" name="Picture 8">
            <a:extLst>
              <a:ext uri="{FF2B5EF4-FFF2-40B4-BE49-F238E27FC236}">
                <a16:creationId xmlns:a16="http://schemas.microsoft.com/office/drawing/2014/main" id="{D093155B-8927-B6F3-B2B2-83F4D8A05906}"/>
              </a:ext>
            </a:extLst>
          </p:cNvPr>
          <p:cNvPicPr>
            <a:picLocks noChangeAspect="1"/>
          </p:cNvPicPr>
          <p:nvPr/>
        </p:nvPicPr>
        <p:blipFill>
          <a:blip r:embed="rId7"/>
          <a:stretch>
            <a:fillRect/>
          </a:stretch>
        </p:blipFill>
        <p:spPr>
          <a:xfrm>
            <a:off x="7518248" y="2196040"/>
            <a:ext cx="3833446" cy="4152900"/>
          </a:xfrm>
          <a:prstGeom prst="rect">
            <a:avLst/>
          </a:prstGeom>
        </p:spPr>
      </p:pic>
      <p:pic>
        <p:nvPicPr>
          <p:cNvPr id="10" name="Picture 9">
            <a:extLst>
              <a:ext uri="{FF2B5EF4-FFF2-40B4-BE49-F238E27FC236}">
                <a16:creationId xmlns:a16="http://schemas.microsoft.com/office/drawing/2014/main" id="{92B3EA01-8DD3-A51D-BF2B-7B3F15B9A26B}"/>
              </a:ext>
            </a:extLst>
          </p:cNvPr>
          <p:cNvPicPr>
            <a:picLocks noChangeAspect="1"/>
          </p:cNvPicPr>
          <p:nvPr/>
        </p:nvPicPr>
        <p:blipFill>
          <a:blip r:embed="rId8"/>
          <a:stretch>
            <a:fillRect/>
          </a:stretch>
        </p:blipFill>
        <p:spPr>
          <a:xfrm>
            <a:off x="648940" y="2196040"/>
            <a:ext cx="6830271" cy="4152900"/>
          </a:xfrm>
          <a:prstGeom prst="rect">
            <a:avLst/>
          </a:prstGeom>
        </p:spPr>
      </p:pic>
    </p:spTree>
    <p:extLst>
      <p:ext uri="{BB962C8B-B14F-4D97-AF65-F5344CB8AC3E}">
        <p14:creationId xmlns:p14="http://schemas.microsoft.com/office/powerpoint/2010/main" val="1694494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xit" presetSubtype="10" fill="hold" nodeType="clickEffect">
                                  <p:stCondLst>
                                    <p:cond delay="0"/>
                                  </p:stCondLst>
                                  <p:childTnLst>
                                    <p:animEffect transition="out" filter="blinds(horizontal)">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3" presetClass="exit" presetSubtype="10" fill="hold" nodeType="clickEffect">
                                  <p:stCondLst>
                                    <p:cond delay="0"/>
                                  </p:stCondLst>
                                  <p:childTnLst>
                                    <p:animEffect transition="out" filter="blinds(horizontal)">
                                      <p:cBhvr>
                                        <p:cTn id="13" dur="500"/>
                                        <p:tgtEl>
                                          <p:spTgt spid="12"/>
                                        </p:tgtEl>
                                      </p:cBhvr>
                                    </p:animEffect>
                                    <p:set>
                                      <p:cBhvr>
                                        <p:cTn id="14" dur="1" fill="hold">
                                          <p:stCondLst>
                                            <p:cond delay="499"/>
                                          </p:stCondLst>
                                        </p:cTn>
                                        <p:tgtEl>
                                          <p:spTgt spid="12"/>
                                        </p:tgtEl>
                                        <p:attrNameLst>
                                          <p:attrName>style.visibility</p:attrName>
                                        </p:attrNameLst>
                                      </p:cBhvr>
                                      <p:to>
                                        <p:strVal val="hidden"/>
                                      </p:to>
                                    </p:set>
                                  </p:childTnLst>
                                </p:cTn>
                              </p:par>
                              <p:par>
                                <p:cTn id="15" presetID="3" presetClass="exit" presetSubtype="10" fill="hold" nodeType="withEffect">
                                  <p:stCondLst>
                                    <p:cond delay="0"/>
                                  </p:stCondLst>
                                  <p:childTnLst>
                                    <p:animEffect transition="out" filter="blinds(horizontal)">
                                      <p:cBhvr>
                                        <p:cTn id="16" dur="500"/>
                                        <p:tgtEl>
                                          <p:spTgt spid="6"/>
                                        </p:tgtEl>
                                      </p:cBhvr>
                                    </p:animEffect>
                                    <p:set>
                                      <p:cBhvr>
                                        <p:cTn id="17" dur="1" fill="hold">
                                          <p:stCondLst>
                                            <p:cond delay="499"/>
                                          </p:stCondLst>
                                        </p:cTn>
                                        <p:tgtEl>
                                          <p:spTgt spid="6"/>
                                        </p:tgtEl>
                                        <p:attrNameLst>
                                          <p:attrName>style.visibility</p:attrName>
                                        </p:attrNameLst>
                                      </p:cBhvr>
                                      <p:to>
                                        <p:strVal val="hidden"/>
                                      </p:to>
                                    </p:set>
                                  </p:childTnLst>
                                </p:cTn>
                              </p:par>
                              <p:par>
                                <p:cTn id="18" presetID="1"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childTnLst>
                                </p:cTn>
                              </p:par>
                              <p:par>
                                <p:cTn id="24" presetID="3" presetClass="exit" presetSubtype="10" fill="hold" nodeType="withEffect">
                                  <p:stCondLst>
                                    <p:cond delay="0"/>
                                  </p:stCondLst>
                                  <p:childTnLst>
                                    <p:animEffect transition="out" filter="blinds(horizontal)">
                                      <p:cBhvr>
                                        <p:cTn id="25" dur="500"/>
                                        <p:tgtEl>
                                          <p:spTgt spid="5"/>
                                        </p:tgtEl>
                                      </p:cBhvr>
                                    </p:animEffect>
                                    <p:set>
                                      <p:cBhvr>
                                        <p:cTn id="26"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FA96F6-25FB-0BC4-C284-8B25FF9A0AF0}"/>
              </a:ext>
            </a:extLst>
          </p:cNvPr>
          <p:cNvPicPr>
            <a:picLocks noChangeAspect="1"/>
          </p:cNvPicPr>
          <p:nvPr/>
        </p:nvPicPr>
        <p:blipFill>
          <a:blip r:embed="rId2"/>
          <a:stretch>
            <a:fillRect/>
          </a:stretch>
        </p:blipFill>
        <p:spPr>
          <a:xfrm>
            <a:off x="687152" y="362607"/>
            <a:ext cx="10817696" cy="6132785"/>
          </a:xfrm>
          <a:prstGeom prst="rect">
            <a:avLst/>
          </a:prstGeom>
        </p:spPr>
      </p:pic>
    </p:spTree>
    <p:extLst>
      <p:ext uri="{BB962C8B-B14F-4D97-AF65-F5344CB8AC3E}">
        <p14:creationId xmlns:p14="http://schemas.microsoft.com/office/powerpoint/2010/main" val="11607936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8CC43-5104-13AC-3DEC-C14B148C06D6}"/>
              </a:ext>
            </a:extLst>
          </p:cNvPr>
          <p:cNvSpPr>
            <a:spLocks noGrp="1"/>
          </p:cNvSpPr>
          <p:nvPr>
            <p:ph type="title"/>
          </p:nvPr>
        </p:nvSpPr>
        <p:spPr>
          <a:xfrm>
            <a:off x="914400" y="162880"/>
            <a:ext cx="10363200" cy="514975"/>
          </a:xfrm>
        </p:spPr>
        <p:txBody>
          <a:bodyPr/>
          <a:lstStyle/>
          <a:p>
            <a:r>
              <a:rPr lang="en-US" sz="3200" dirty="0"/>
              <a:t>Beyond HBM3 – JEDEC In Package Memory </a:t>
            </a:r>
          </a:p>
        </p:txBody>
      </p:sp>
      <p:pic>
        <p:nvPicPr>
          <p:cNvPr id="149" name="Picture 148">
            <a:extLst>
              <a:ext uri="{FF2B5EF4-FFF2-40B4-BE49-F238E27FC236}">
                <a16:creationId xmlns:a16="http://schemas.microsoft.com/office/drawing/2014/main" id="{C607111B-6241-144F-825D-DC733A749DCB}"/>
              </a:ext>
            </a:extLst>
          </p:cNvPr>
          <p:cNvPicPr>
            <a:picLocks noChangeAspect="1"/>
          </p:cNvPicPr>
          <p:nvPr/>
        </p:nvPicPr>
        <p:blipFill rotWithShape="1">
          <a:blip r:embed="rId2"/>
          <a:srcRect l="5311" t="21549" r="28636"/>
          <a:stretch/>
        </p:blipFill>
        <p:spPr>
          <a:xfrm>
            <a:off x="1913331" y="843953"/>
            <a:ext cx="7614567" cy="5452852"/>
          </a:xfrm>
          <a:prstGeom prst="rect">
            <a:avLst/>
          </a:prstGeom>
        </p:spPr>
      </p:pic>
    </p:spTree>
    <p:extLst>
      <p:ext uri="{BB962C8B-B14F-4D97-AF65-F5344CB8AC3E}">
        <p14:creationId xmlns:p14="http://schemas.microsoft.com/office/powerpoint/2010/main" val="1859843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8CC43-5104-13AC-3DEC-C14B148C06D6}"/>
              </a:ext>
            </a:extLst>
          </p:cNvPr>
          <p:cNvSpPr>
            <a:spLocks noGrp="1"/>
          </p:cNvSpPr>
          <p:nvPr>
            <p:ph type="title"/>
          </p:nvPr>
        </p:nvSpPr>
        <p:spPr>
          <a:xfrm>
            <a:off x="914400" y="162880"/>
            <a:ext cx="10363200" cy="514975"/>
          </a:xfrm>
        </p:spPr>
        <p:txBody>
          <a:bodyPr/>
          <a:lstStyle/>
          <a:p>
            <a:r>
              <a:rPr lang="en-US" sz="3200" dirty="0"/>
              <a:t>Beyond HBM3 – Custom In Package Memory </a:t>
            </a:r>
          </a:p>
        </p:txBody>
      </p:sp>
      <p:grpSp>
        <p:nvGrpSpPr>
          <p:cNvPr id="142" name="Group 141">
            <a:extLst>
              <a:ext uri="{FF2B5EF4-FFF2-40B4-BE49-F238E27FC236}">
                <a16:creationId xmlns:a16="http://schemas.microsoft.com/office/drawing/2014/main" id="{24FEE535-7812-D28B-2413-8C6371F57A93}"/>
              </a:ext>
            </a:extLst>
          </p:cNvPr>
          <p:cNvGrpSpPr/>
          <p:nvPr/>
        </p:nvGrpSpPr>
        <p:grpSpPr>
          <a:xfrm>
            <a:off x="158543" y="766035"/>
            <a:ext cx="2889779" cy="5335160"/>
            <a:chOff x="158543" y="766035"/>
            <a:chExt cx="2889779" cy="5335160"/>
          </a:xfrm>
        </p:grpSpPr>
        <p:pic>
          <p:nvPicPr>
            <p:cNvPr id="3" name="Picture 2">
              <a:extLst>
                <a:ext uri="{FF2B5EF4-FFF2-40B4-BE49-F238E27FC236}">
                  <a16:creationId xmlns:a16="http://schemas.microsoft.com/office/drawing/2014/main" id="{663BA9C3-C111-373B-B4A9-0241F2747822}"/>
                </a:ext>
              </a:extLst>
            </p:cNvPr>
            <p:cNvPicPr>
              <a:picLocks noChangeAspect="1"/>
            </p:cNvPicPr>
            <p:nvPr/>
          </p:nvPicPr>
          <p:blipFill>
            <a:blip r:embed="rId3"/>
            <a:stretch>
              <a:fillRect/>
            </a:stretch>
          </p:blipFill>
          <p:spPr>
            <a:xfrm>
              <a:off x="158543" y="1158173"/>
              <a:ext cx="2794000" cy="2578100"/>
            </a:xfrm>
            <a:prstGeom prst="rect">
              <a:avLst/>
            </a:prstGeom>
          </p:spPr>
        </p:pic>
        <p:pic>
          <p:nvPicPr>
            <p:cNvPr id="4" name="Picture 3">
              <a:extLst>
                <a:ext uri="{FF2B5EF4-FFF2-40B4-BE49-F238E27FC236}">
                  <a16:creationId xmlns:a16="http://schemas.microsoft.com/office/drawing/2014/main" id="{8C35E9B9-D906-D17B-A1DE-991A190B43AD}"/>
                </a:ext>
              </a:extLst>
            </p:cNvPr>
            <p:cNvPicPr>
              <a:picLocks noChangeAspect="1"/>
            </p:cNvPicPr>
            <p:nvPr/>
          </p:nvPicPr>
          <p:blipFill>
            <a:blip r:embed="rId4"/>
            <a:stretch>
              <a:fillRect/>
            </a:stretch>
          </p:blipFill>
          <p:spPr>
            <a:xfrm>
              <a:off x="158543" y="4129812"/>
              <a:ext cx="2889779" cy="1971383"/>
            </a:xfrm>
            <a:prstGeom prst="rect">
              <a:avLst/>
            </a:prstGeom>
          </p:spPr>
        </p:pic>
        <p:sp>
          <p:nvSpPr>
            <p:cNvPr id="49" name="TextBox 48">
              <a:extLst>
                <a:ext uri="{FF2B5EF4-FFF2-40B4-BE49-F238E27FC236}">
                  <a16:creationId xmlns:a16="http://schemas.microsoft.com/office/drawing/2014/main" id="{C722A401-382D-37CF-917C-6E66A09FE843}"/>
                </a:ext>
              </a:extLst>
            </p:cNvPr>
            <p:cNvSpPr txBox="1"/>
            <p:nvPr/>
          </p:nvSpPr>
          <p:spPr>
            <a:xfrm>
              <a:off x="1040335" y="766035"/>
              <a:ext cx="1418657" cy="400110"/>
            </a:xfrm>
            <a:prstGeom prst="rect">
              <a:avLst/>
            </a:prstGeom>
            <a:noFill/>
          </p:spPr>
          <p:txBody>
            <a:bodyPr wrap="none" rtlCol="0">
              <a:spAutoFit/>
            </a:bodyPr>
            <a:lstStyle/>
            <a:p>
              <a:pPr algn="ctr"/>
              <a:r>
                <a:rPr lang="en-US" sz="2000" dirty="0">
                  <a:latin typeface="Calibri" panose="020F0502020204030204" pitchFamily="34" charset="0"/>
                  <a:cs typeface="Calibri" panose="020F0502020204030204" pitchFamily="34" charset="0"/>
                </a:rPr>
                <a:t>AP Memory</a:t>
              </a:r>
            </a:p>
          </p:txBody>
        </p:sp>
      </p:grpSp>
      <p:grpSp>
        <p:nvGrpSpPr>
          <p:cNvPr id="143" name="Group 142">
            <a:extLst>
              <a:ext uri="{FF2B5EF4-FFF2-40B4-BE49-F238E27FC236}">
                <a16:creationId xmlns:a16="http://schemas.microsoft.com/office/drawing/2014/main" id="{992B9DBC-AA07-170F-147D-7F084E05A4AF}"/>
              </a:ext>
            </a:extLst>
          </p:cNvPr>
          <p:cNvGrpSpPr/>
          <p:nvPr/>
        </p:nvGrpSpPr>
        <p:grpSpPr>
          <a:xfrm>
            <a:off x="3313078" y="650957"/>
            <a:ext cx="4463993" cy="5947601"/>
            <a:chOff x="3313078" y="650957"/>
            <a:chExt cx="4463993" cy="5947601"/>
          </a:xfrm>
        </p:grpSpPr>
        <p:grpSp>
          <p:nvGrpSpPr>
            <p:cNvPr id="134" name="Group 133">
              <a:extLst>
                <a:ext uri="{FF2B5EF4-FFF2-40B4-BE49-F238E27FC236}">
                  <a16:creationId xmlns:a16="http://schemas.microsoft.com/office/drawing/2014/main" id="{E529C4F3-4BF6-3D54-455A-4A619868E818}"/>
                </a:ext>
              </a:extLst>
            </p:cNvPr>
            <p:cNvGrpSpPr/>
            <p:nvPr/>
          </p:nvGrpSpPr>
          <p:grpSpPr>
            <a:xfrm>
              <a:off x="5742152" y="1239452"/>
              <a:ext cx="1342953" cy="607166"/>
              <a:chOff x="3479528" y="2325800"/>
              <a:chExt cx="2049973" cy="582484"/>
            </a:xfrm>
          </p:grpSpPr>
          <p:sp>
            <p:nvSpPr>
              <p:cNvPr id="135" name="Diamond 134">
                <a:extLst>
                  <a:ext uri="{FF2B5EF4-FFF2-40B4-BE49-F238E27FC236}">
                    <a16:creationId xmlns:a16="http://schemas.microsoft.com/office/drawing/2014/main" id="{9AD507B3-31D0-FCFC-2CF2-9069AC837764}"/>
                  </a:ext>
                </a:extLst>
              </p:cNvPr>
              <p:cNvSpPr/>
              <p:nvPr/>
            </p:nvSpPr>
            <p:spPr>
              <a:xfrm>
                <a:off x="3895644" y="2500708"/>
                <a:ext cx="1014552"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grpSp>
            <p:nvGrpSpPr>
              <p:cNvPr id="136" name="Group 135">
                <a:extLst>
                  <a:ext uri="{FF2B5EF4-FFF2-40B4-BE49-F238E27FC236}">
                    <a16:creationId xmlns:a16="http://schemas.microsoft.com/office/drawing/2014/main" id="{731515DE-8FE7-99D7-E0EE-C1EB12D27AFA}"/>
                  </a:ext>
                </a:extLst>
              </p:cNvPr>
              <p:cNvGrpSpPr/>
              <p:nvPr/>
            </p:nvGrpSpPr>
            <p:grpSpPr>
              <a:xfrm>
                <a:off x="3479528" y="2325800"/>
                <a:ext cx="2049973" cy="582484"/>
                <a:chOff x="9170857" y="5056405"/>
                <a:chExt cx="2049973" cy="582484"/>
              </a:xfrm>
            </p:grpSpPr>
            <p:sp>
              <p:nvSpPr>
                <p:cNvPr id="137" name="Diamond 136">
                  <a:extLst>
                    <a:ext uri="{FF2B5EF4-FFF2-40B4-BE49-F238E27FC236}">
                      <a16:creationId xmlns:a16="http://schemas.microsoft.com/office/drawing/2014/main" id="{3639A700-2310-9819-C4A4-E57938E3D83C}"/>
                    </a:ext>
                  </a:extLst>
                </p:cNvPr>
                <p:cNvSpPr/>
                <p:nvPr/>
              </p:nvSpPr>
              <p:spPr>
                <a:xfrm>
                  <a:off x="9170857" y="520302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38" name="Diamond 137">
                  <a:extLst>
                    <a:ext uri="{FF2B5EF4-FFF2-40B4-BE49-F238E27FC236}">
                      <a16:creationId xmlns:a16="http://schemas.microsoft.com/office/drawing/2014/main" id="{E7CF3906-56E9-3F7D-DF31-F6E17DA1A9D7}"/>
                    </a:ext>
                  </a:extLst>
                </p:cNvPr>
                <p:cNvSpPr/>
                <p:nvPr/>
              </p:nvSpPr>
              <p:spPr>
                <a:xfrm>
                  <a:off x="9678133" y="5348313"/>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39" name="Diamond 138">
                  <a:extLst>
                    <a:ext uri="{FF2B5EF4-FFF2-40B4-BE49-F238E27FC236}">
                      <a16:creationId xmlns:a16="http://schemas.microsoft.com/office/drawing/2014/main" id="{180586BF-846A-F4DD-50E6-C7646ED4E7A6}"/>
                    </a:ext>
                  </a:extLst>
                </p:cNvPr>
                <p:cNvSpPr/>
                <p:nvPr/>
              </p:nvSpPr>
              <p:spPr>
                <a:xfrm>
                  <a:off x="9678132" y="505640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40" name="Diamond 139">
                  <a:extLst>
                    <a:ext uri="{FF2B5EF4-FFF2-40B4-BE49-F238E27FC236}">
                      <a16:creationId xmlns:a16="http://schemas.microsoft.com/office/drawing/2014/main" id="{AE101313-62D0-B3F4-CAC3-3E77DA70D754}"/>
                    </a:ext>
                  </a:extLst>
                </p:cNvPr>
                <p:cNvSpPr/>
                <p:nvPr/>
              </p:nvSpPr>
              <p:spPr>
                <a:xfrm>
                  <a:off x="10206277" y="5201422"/>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grpSp>
        </p:grpSp>
        <p:grpSp>
          <p:nvGrpSpPr>
            <p:cNvPr id="53" name="Group 52">
              <a:extLst>
                <a:ext uri="{FF2B5EF4-FFF2-40B4-BE49-F238E27FC236}">
                  <a16:creationId xmlns:a16="http://schemas.microsoft.com/office/drawing/2014/main" id="{6F94C5E8-EA7D-0682-3262-803028F735E5}"/>
                </a:ext>
              </a:extLst>
            </p:cNvPr>
            <p:cNvGrpSpPr/>
            <p:nvPr/>
          </p:nvGrpSpPr>
          <p:grpSpPr>
            <a:xfrm>
              <a:off x="5561276" y="1925108"/>
              <a:ext cx="1801348" cy="999040"/>
              <a:chOff x="3146186" y="2933569"/>
              <a:chExt cx="2818671" cy="726573"/>
            </a:xfrm>
          </p:grpSpPr>
          <p:grpSp>
            <p:nvGrpSpPr>
              <p:cNvPr id="54" name="Group 53">
                <a:extLst>
                  <a:ext uri="{FF2B5EF4-FFF2-40B4-BE49-F238E27FC236}">
                    <a16:creationId xmlns:a16="http://schemas.microsoft.com/office/drawing/2014/main" id="{06C692C9-9813-7233-E903-10975197E772}"/>
                  </a:ext>
                </a:extLst>
              </p:cNvPr>
              <p:cNvGrpSpPr/>
              <p:nvPr/>
            </p:nvGrpSpPr>
            <p:grpSpPr>
              <a:xfrm>
                <a:off x="3146186" y="2933569"/>
                <a:ext cx="1879114" cy="479440"/>
                <a:chOff x="9170857" y="5056405"/>
                <a:chExt cx="2049973" cy="582484"/>
              </a:xfrm>
            </p:grpSpPr>
            <p:sp>
              <p:nvSpPr>
                <p:cNvPr id="60" name="Diamond 59">
                  <a:extLst>
                    <a:ext uri="{FF2B5EF4-FFF2-40B4-BE49-F238E27FC236}">
                      <a16:creationId xmlns:a16="http://schemas.microsoft.com/office/drawing/2014/main" id="{4897FC9E-CDC5-A567-2AFF-BB713C27DEDF}"/>
                    </a:ext>
                  </a:extLst>
                </p:cNvPr>
                <p:cNvSpPr/>
                <p:nvPr/>
              </p:nvSpPr>
              <p:spPr>
                <a:xfrm>
                  <a:off x="9170857" y="520302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61" name="Diamond 60">
                  <a:extLst>
                    <a:ext uri="{FF2B5EF4-FFF2-40B4-BE49-F238E27FC236}">
                      <a16:creationId xmlns:a16="http://schemas.microsoft.com/office/drawing/2014/main" id="{590762E5-01C9-2822-EF64-7EB39DEDE8D9}"/>
                    </a:ext>
                  </a:extLst>
                </p:cNvPr>
                <p:cNvSpPr/>
                <p:nvPr/>
              </p:nvSpPr>
              <p:spPr>
                <a:xfrm>
                  <a:off x="9678133" y="5348313"/>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62" name="Diamond 61">
                  <a:extLst>
                    <a:ext uri="{FF2B5EF4-FFF2-40B4-BE49-F238E27FC236}">
                      <a16:creationId xmlns:a16="http://schemas.microsoft.com/office/drawing/2014/main" id="{41C6F3F3-7779-682C-6997-2C3A87CCB25D}"/>
                    </a:ext>
                  </a:extLst>
                </p:cNvPr>
                <p:cNvSpPr/>
                <p:nvPr/>
              </p:nvSpPr>
              <p:spPr>
                <a:xfrm>
                  <a:off x="9678132" y="505640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63" name="Diamond 62">
                  <a:extLst>
                    <a:ext uri="{FF2B5EF4-FFF2-40B4-BE49-F238E27FC236}">
                      <a16:creationId xmlns:a16="http://schemas.microsoft.com/office/drawing/2014/main" id="{06D70EA5-3AD4-0FE9-EBF3-0CA4CA64AD81}"/>
                    </a:ext>
                  </a:extLst>
                </p:cNvPr>
                <p:cNvSpPr/>
                <p:nvPr/>
              </p:nvSpPr>
              <p:spPr>
                <a:xfrm>
                  <a:off x="10206277" y="5201422"/>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55" name="Group 54">
                <a:extLst>
                  <a:ext uri="{FF2B5EF4-FFF2-40B4-BE49-F238E27FC236}">
                    <a16:creationId xmlns:a16="http://schemas.microsoft.com/office/drawing/2014/main" id="{00899786-55B8-717C-3C8F-5966D130AD65}"/>
                  </a:ext>
                </a:extLst>
              </p:cNvPr>
              <p:cNvGrpSpPr/>
              <p:nvPr/>
            </p:nvGrpSpPr>
            <p:grpSpPr>
              <a:xfrm>
                <a:off x="4085743" y="3180702"/>
                <a:ext cx="1879114" cy="479440"/>
                <a:chOff x="9170857" y="5056405"/>
                <a:chExt cx="2049973" cy="582484"/>
              </a:xfrm>
            </p:grpSpPr>
            <p:sp>
              <p:nvSpPr>
                <p:cNvPr id="56" name="Diamond 55">
                  <a:extLst>
                    <a:ext uri="{FF2B5EF4-FFF2-40B4-BE49-F238E27FC236}">
                      <a16:creationId xmlns:a16="http://schemas.microsoft.com/office/drawing/2014/main" id="{C7B9AA4C-0BAC-31E2-B63C-89930552FDF9}"/>
                    </a:ext>
                  </a:extLst>
                </p:cNvPr>
                <p:cNvSpPr/>
                <p:nvPr/>
              </p:nvSpPr>
              <p:spPr>
                <a:xfrm>
                  <a:off x="9170857" y="520302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7" name="Diamond 56">
                  <a:extLst>
                    <a:ext uri="{FF2B5EF4-FFF2-40B4-BE49-F238E27FC236}">
                      <a16:creationId xmlns:a16="http://schemas.microsoft.com/office/drawing/2014/main" id="{BC748189-9BDF-E916-88B6-813869F0DD9D}"/>
                    </a:ext>
                  </a:extLst>
                </p:cNvPr>
                <p:cNvSpPr/>
                <p:nvPr/>
              </p:nvSpPr>
              <p:spPr>
                <a:xfrm>
                  <a:off x="9678133" y="5348313"/>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8" name="Diamond 57">
                  <a:extLst>
                    <a:ext uri="{FF2B5EF4-FFF2-40B4-BE49-F238E27FC236}">
                      <a16:creationId xmlns:a16="http://schemas.microsoft.com/office/drawing/2014/main" id="{1AB15809-9BA8-DD18-E51A-75E00EE845CE}"/>
                    </a:ext>
                  </a:extLst>
                </p:cNvPr>
                <p:cNvSpPr/>
                <p:nvPr/>
              </p:nvSpPr>
              <p:spPr>
                <a:xfrm>
                  <a:off x="9678132" y="505640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9" name="Diamond 58">
                  <a:extLst>
                    <a:ext uri="{FF2B5EF4-FFF2-40B4-BE49-F238E27FC236}">
                      <a16:creationId xmlns:a16="http://schemas.microsoft.com/office/drawing/2014/main" id="{95CB4731-F541-1E1E-EEEF-BC6902C478CC}"/>
                    </a:ext>
                  </a:extLst>
                </p:cNvPr>
                <p:cNvSpPr/>
                <p:nvPr/>
              </p:nvSpPr>
              <p:spPr>
                <a:xfrm>
                  <a:off x="10206277" y="5201422"/>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grpSp>
          <p:nvGrpSpPr>
            <p:cNvPr id="10" name="Group 9">
              <a:extLst>
                <a:ext uri="{FF2B5EF4-FFF2-40B4-BE49-F238E27FC236}">
                  <a16:creationId xmlns:a16="http://schemas.microsoft.com/office/drawing/2014/main" id="{09A895B8-2686-1AE4-9FFC-01258005B86A}"/>
                </a:ext>
              </a:extLst>
            </p:cNvPr>
            <p:cNvGrpSpPr/>
            <p:nvPr/>
          </p:nvGrpSpPr>
          <p:grpSpPr>
            <a:xfrm>
              <a:off x="3313078" y="3161889"/>
              <a:ext cx="2227324" cy="3436668"/>
              <a:chOff x="495703" y="1014805"/>
              <a:chExt cx="2324084" cy="4212803"/>
            </a:xfrm>
            <a:solidFill>
              <a:schemeClr val="bg1"/>
            </a:solidFill>
          </p:grpSpPr>
          <p:pic>
            <p:nvPicPr>
              <p:cNvPr id="11" name="Picture 10">
                <a:extLst>
                  <a:ext uri="{FF2B5EF4-FFF2-40B4-BE49-F238E27FC236}">
                    <a16:creationId xmlns:a16="http://schemas.microsoft.com/office/drawing/2014/main" id="{7C95F564-D2AB-E958-7E83-5EFDEA4C5D6D}"/>
                  </a:ext>
                </a:extLst>
              </p:cNvPr>
              <p:cNvPicPr>
                <a:picLocks noChangeAspect="1"/>
              </p:cNvPicPr>
              <p:nvPr/>
            </p:nvPicPr>
            <p:blipFill>
              <a:blip r:embed="rId5"/>
              <a:stretch>
                <a:fillRect/>
              </a:stretch>
            </p:blipFill>
            <p:spPr>
              <a:xfrm>
                <a:off x="495703" y="1014805"/>
                <a:ext cx="2324084" cy="4212803"/>
              </a:xfrm>
              <a:prstGeom prst="rect">
                <a:avLst/>
              </a:prstGeom>
              <a:grpFill/>
            </p:spPr>
          </p:pic>
          <p:sp>
            <p:nvSpPr>
              <p:cNvPr id="12" name="TextBox 11">
                <a:extLst>
                  <a:ext uri="{FF2B5EF4-FFF2-40B4-BE49-F238E27FC236}">
                    <a16:creationId xmlns:a16="http://schemas.microsoft.com/office/drawing/2014/main" id="{B7EC6E75-C79C-0658-6B6F-B19BBAE5FFF4}"/>
                  </a:ext>
                </a:extLst>
              </p:cNvPr>
              <p:cNvSpPr txBox="1"/>
              <p:nvPr/>
            </p:nvSpPr>
            <p:spPr>
              <a:xfrm>
                <a:off x="495703" y="1081214"/>
                <a:ext cx="2324084" cy="509334"/>
              </a:xfrm>
              <a:prstGeom prst="rect">
                <a:avLst/>
              </a:prstGeom>
              <a:grp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High-Capacity Macro (128MB 1Ch)</a:t>
                </a:r>
              </a:p>
              <a:p>
                <a:pPr algn="ctr" defTabSz="914400">
                  <a:defRPr/>
                </a:pPr>
                <a:r>
                  <a:rPr lang="en-US" sz="1050" b="1" dirty="0">
                    <a:solidFill>
                      <a:srgbClr val="525252">
                        <a:lumMod val="50000"/>
                      </a:srgbClr>
                    </a:solidFill>
                    <a:latin typeface="IntelOne Display Regular"/>
                    <a:ea typeface="Helvetica Neue"/>
                    <a:cs typeface="Helvetica Neue"/>
                  </a:rPr>
                  <a:t>21</a:t>
                </a:r>
                <a:r>
                  <a:rPr kumimoji="0" lang="en-US" sz="105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MB/mm2, 32GB/s/</a:t>
                </a:r>
                <a:r>
                  <a:rPr kumimoji="0" lang="en-US" sz="1050" b="1" i="0" u="none" strike="noStrike" kern="1200" cap="none" spc="0" normalizeH="0" baseline="0" noProof="0" dirty="0" err="1">
                    <a:ln>
                      <a:noFill/>
                    </a:ln>
                    <a:solidFill>
                      <a:srgbClr val="525252">
                        <a:lumMod val="50000"/>
                      </a:srgbClr>
                    </a:solidFill>
                    <a:effectLst/>
                    <a:uLnTx/>
                    <a:uFillTx/>
                    <a:latin typeface="IntelOne Display Regular"/>
                    <a:ea typeface="Helvetica Neue"/>
                    <a:cs typeface="Helvetica Neue"/>
                  </a:rPr>
                  <a:t>ch</a:t>
                </a:r>
                <a:r>
                  <a:rPr kumimoji="0" lang="en-US" sz="105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 1.5pJ/b</a:t>
                </a:r>
              </a:p>
            </p:txBody>
          </p:sp>
        </p:grpSp>
        <p:grpSp>
          <p:nvGrpSpPr>
            <p:cNvPr id="7" name="Group 6">
              <a:extLst>
                <a:ext uri="{FF2B5EF4-FFF2-40B4-BE49-F238E27FC236}">
                  <a16:creationId xmlns:a16="http://schemas.microsoft.com/office/drawing/2014/main" id="{B0AFA111-8CAC-2288-81E5-567E8BCAA3A3}"/>
                </a:ext>
              </a:extLst>
            </p:cNvPr>
            <p:cNvGrpSpPr/>
            <p:nvPr/>
          </p:nvGrpSpPr>
          <p:grpSpPr>
            <a:xfrm>
              <a:off x="5540404" y="3161890"/>
              <a:ext cx="2236667" cy="3436668"/>
              <a:chOff x="389193" y="1107042"/>
              <a:chExt cx="2748502" cy="4015980"/>
            </a:xfrm>
            <a:solidFill>
              <a:schemeClr val="bg1"/>
            </a:solidFill>
          </p:grpSpPr>
          <p:pic>
            <p:nvPicPr>
              <p:cNvPr id="8" name="Picture 7">
                <a:extLst>
                  <a:ext uri="{FF2B5EF4-FFF2-40B4-BE49-F238E27FC236}">
                    <a16:creationId xmlns:a16="http://schemas.microsoft.com/office/drawing/2014/main" id="{86A6BF4E-4147-08F7-CF3B-0966E0B949BA}"/>
                  </a:ext>
                </a:extLst>
              </p:cNvPr>
              <p:cNvPicPr>
                <a:picLocks noChangeAspect="1"/>
              </p:cNvPicPr>
              <p:nvPr/>
            </p:nvPicPr>
            <p:blipFill>
              <a:blip r:embed="rId6"/>
              <a:stretch>
                <a:fillRect/>
              </a:stretch>
            </p:blipFill>
            <p:spPr>
              <a:xfrm>
                <a:off x="389194" y="1107042"/>
                <a:ext cx="2748501" cy="4015980"/>
              </a:xfrm>
              <a:prstGeom prst="rect">
                <a:avLst/>
              </a:prstGeom>
              <a:grpFill/>
            </p:spPr>
          </p:pic>
          <p:sp>
            <p:nvSpPr>
              <p:cNvPr id="9" name="TextBox 8">
                <a:extLst>
                  <a:ext uri="{FF2B5EF4-FFF2-40B4-BE49-F238E27FC236}">
                    <a16:creationId xmlns:a16="http://schemas.microsoft.com/office/drawing/2014/main" id="{8B23601D-00E8-025D-80B0-EEA467D6779F}"/>
                  </a:ext>
                </a:extLst>
              </p:cNvPr>
              <p:cNvSpPr txBox="1"/>
              <p:nvPr/>
            </p:nvSpPr>
            <p:spPr>
              <a:xfrm>
                <a:off x="389193" y="1107042"/>
                <a:ext cx="2748501" cy="467556"/>
              </a:xfrm>
              <a:prstGeom prst="rect">
                <a:avLst/>
              </a:prstGeom>
              <a:grp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High-Bandwidth Macro (16MB </a:t>
                </a:r>
                <a:r>
                  <a:rPr lang="en-US" sz="1000" b="1" dirty="0">
                    <a:solidFill>
                      <a:srgbClr val="525252">
                        <a:lumMod val="50000"/>
                      </a:srgbClr>
                    </a:solidFill>
                    <a:latin typeface="IntelOne Display Regular"/>
                    <a:ea typeface="Helvetica Neue"/>
                    <a:cs typeface="Helvetica Neue"/>
                  </a:rPr>
                  <a:t>1</a:t>
                </a:r>
                <a:r>
                  <a:rPr kumimoji="0" lang="en-US" sz="100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16MB/mm</a:t>
                </a:r>
                <a:r>
                  <a:rPr kumimoji="0" lang="en-US" sz="1000" b="1" i="0" u="none" strike="noStrike" kern="1200" cap="none" spc="0" normalizeH="0" baseline="30000" noProof="0" dirty="0">
                    <a:ln>
                      <a:noFill/>
                    </a:ln>
                    <a:solidFill>
                      <a:srgbClr val="525252">
                        <a:lumMod val="50000"/>
                      </a:srgbClr>
                    </a:solidFill>
                    <a:effectLst/>
                    <a:uLnTx/>
                    <a:uFillTx/>
                    <a:latin typeface="IntelOne Display Regular"/>
                    <a:ea typeface="Helvetica Neue"/>
                    <a:cs typeface="Helvetica Neue"/>
                  </a:rPr>
                  <a:t>2</a:t>
                </a:r>
                <a:r>
                  <a:rPr kumimoji="0" lang="en-US" sz="100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 32GB/s/Ch, 1.5pJ/b</a:t>
                </a:r>
              </a:p>
            </p:txBody>
          </p:sp>
        </p:grpSp>
        <p:grpSp>
          <p:nvGrpSpPr>
            <p:cNvPr id="14" name="Group 13">
              <a:extLst>
                <a:ext uri="{FF2B5EF4-FFF2-40B4-BE49-F238E27FC236}">
                  <a16:creationId xmlns:a16="http://schemas.microsoft.com/office/drawing/2014/main" id="{43EF6643-4B65-2A50-477E-85E32201D343}"/>
                </a:ext>
              </a:extLst>
            </p:cNvPr>
            <p:cNvGrpSpPr/>
            <p:nvPr/>
          </p:nvGrpSpPr>
          <p:grpSpPr>
            <a:xfrm>
              <a:off x="3490244" y="1330318"/>
              <a:ext cx="1342953" cy="607166"/>
              <a:chOff x="3479528" y="2325800"/>
              <a:chExt cx="2049973" cy="582484"/>
            </a:xfrm>
          </p:grpSpPr>
          <p:sp>
            <p:nvSpPr>
              <p:cNvPr id="23" name="Diamond 22">
                <a:extLst>
                  <a:ext uri="{FF2B5EF4-FFF2-40B4-BE49-F238E27FC236}">
                    <a16:creationId xmlns:a16="http://schemas.microsoft.com/office/drawing/2014/main" id="{04C2B475-A787-C8EA-E43A-3B5BA7512DED}"/>
                  </a:ext>
                </a:extLst>
              </p:cNvPr>
              <p:cNvSpPr/>
              <p:nvPr/>
            </p:nvSpPr>
            <p:spPr>
              <a:xfrm>
                <a:off x="3895644" y="2500708"/>
                <a:ext cx="1014552"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grpSp>
            <p:nvGrpSpPr>
              <p:cNvPr id="16" name="Group 15">
                <a:extLst>
                  <a:ext uri="{FF2B5EF4-FFF2-40B4-BE49-F238E27FC236}">
                    <a16:creationId xmlns:a16="http://schemas.microsoft.com/office/drawing/2014/main" id="{3C62514E-BDA7-E8EE-1CF4-68FA654E6424}"/>
                  </a:ext>
                </a:extLst>
              </p:cNvPr>
              <p:cNvGrpSpPr/>
              <p:nvPr/>
            </p:nvGrpSpPr>
            <p:grpSpPr>
              <a:xfrm>
                <a:off x="3479528" y="2325800"/>
                <a:ext cx="2049973" cy="582484"/>
                <a:chOff x="9170857" y="5056405"/>
                <a:chExt cx="2049973" cy="582484"/>
              </a:xfrm>
            </p:grpSpPr>
            <p:sp>
              <p:nvSpPr>
                <p:cNvPr id="17" name="Diamond 16">
                  <a:extLst>
                    <a:ext uri="{FF2B5EF4-FFF2-40B4-BE49-F238E27FC236}">
                      <a16:creationId xmlns:a16="http://schemas.microsoft.com/office/drawing/2014/main" id="{D7C96753-AB04-41B8-E2AD-EBB70B2B3BFA}"/>
                    </a:ext>
                  </a:extLst>
                </p:cNvPr>
                <p:cNvSpPr/>
                <p:nvPr/>
              </p:nvSpPr>
              <p:spPr>
                <a:xfrm>
                  <a:off x="9170857" y="520302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8" name="Diamond 17">
                  <a:extLst>
                    <a:ext uri="{FF2B5EF4-FFF2-40B4-BE49-F238E27FC236}">
                      <a16:creationId xmlns:a16="http://schemas.microsoft.com/office/drawing/2014/main" id="{BCD7EDA9-2ABA-3989-5C5D-77B4FF754557}"/>
                    </a:ext>
                  </a:extLst>
                </p:cNvPr>
                <p:cNvSpPr/>
                <p:nvPr/>
              </p:nvSpPr>
              <p:spPr>
                <a:xfrm>
                  <a:off x="9678133" y="5348313"/>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9" name="Diamond 18">
                  <a:extLst>
                    <a:ext uri="{FF2B5EF4-FFF2-40B4-BE49-F238E27FC236}">
                      <a16:creationId xmlns:a16="http://schemas.microsoft.com/office/drawing/2014/main" id="{97F2F580-F1AB-B0EA-CDEF-5F38B1887895}"/>
                    </a:ext>
                  </a:extLst>
                </p:cNvPr>
                <p:cNvSpPr/>
                <p:nvPr/>
              </p:nvSpPr>
              <p:spPr>
                <a:xfrm>
                  <a:off x="9678132" y="505640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20" name="Diamond 19">
                  <a:extLst>
                    <a:ext uri="{FF2B5EF4-FFF2-40B4-BE49-F238E27FC236}">
                      <a16:creationId xmlns:a16="http://schemas.microsoft.com/office/drawing/2014/main" id="{E9DC5B8C-A86D-3796-0FBD-F1BE34A3F97A}"/>
                    </a:ext>
                  </a:extLst>
                </p:cNvPr>
                <p:cNvSpPr/>
                <p:nvPr/>
              </p:nvSpPr>
              <p:spPr>
                <a:xfrm>
                  <a:off x="10206277" y="5201422"/>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grpSp>
        </p:grpSp>
        <p:sp>
          <p:nvSpPr>
            <p:cNvPr id="48" name="TextBox 47">
              <a:extLst>
                <a:ext uri="{FF2B5EF4-FFF2-40B4-BE49-F238E27FC236}">
                  <a16:creationId xmlns:a16="http://schemas.microsoft.com/office/drawing/2014/main" id="{67D65723-FF75-C1C0-A8D8-AD47D8D2FF3F}"/>
                </a:ext>
              </a:extLst>
            </p:cNvPr>
            <p:cNvSpPr txBox="1"/>
            <p:nvPr/>
          </p:nvSpPr>
          <p:spPr>
            <a:xfrm>
              <a:off x="5637952" y="2158684"/>
              <a:ext cx="15358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rPr>
                <a:t> 2GB,  </a:t>
              </a:r>
              <a:r>
                <a:rPr lang="en-US" sz="1200" b="1" dirty="0">
                  <a:solidFill>
                    <a:srgbClr val="FFFF00"/>
                  </a:solidFill>
                  <a:latin typeface="Calibri" panose="020F0502020204030204" pitchFamily="34" charset="0"/>
                  <a:cs typeface="Calibri" panose="020F0502020204030204" pitchFamily="34" charset="0"/>
                </a:rPr>
                <a:t>4T</a:t>
              </a:r>
              <a:r>
                <a:rPr kumimoji="0" lang="en-US" sz="12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rPr>
                <a:t>B/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FF00"/>
                  </a:solidFill>
                  <a:latin typeface="Calibri" panose="020F0502020204030204" pitchFamily="34" charset="0"/>
                  <a:cs typeface="Calibri" panose="020F0502020204030204" pitchFamily="34" charset="0"/>
                </a:rPr>
                <a:t>128mm</a:t>
              </a:r>
              <a:r>
                <a:rPr lang="en-US" sz="1200" b="1" baseline="30000" dirty="0">
                  <a:solidFill>
                    <a:srgbClr val="FFFF00"/>
                  </a:solidFill>
                  <a:latin typeface="Calibri" panose="020F0502020204030204" pitchFamily="34" charset="0"/>
                  <a:cs typeface="Calibri" panose="020F0502020204030204" pitchFamily="34" charset="0"/>
                </a:rPr>
                <a:t>2</a:t>
              </a:r>
              <a:r>
                <a:rPr lang="en-US" sz="1200" b="1" dirty="0">
                  <a:solidFill>
                    <a:srgbClr val="FFFF00"/>
                  </a:solidFill>
                  <a:latin typeface="Calibri" panose="020F0502020204030204" pitchFamily="34" charset="0"/>
                  <a:cs typeface="Calibri" panose="020F0502020204030204" pitchFamily="34" charset="0"/>
                </a:rPr>
                <a:t>)</a:t>
              </a:r>
              <a:endParaRPr kumimoji="0" lang="en-US" sz="12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endParaRPr>
            </a:p>
          </p:txBody>
        </p:sp>
        <p:sp>
          <p:nvSpPr>
            <p:cNvPr id="50" name="TextBox 49">
              <a:extLst>
                <a:ext uri="{FF2B5EF4-FFF2-40B4-BE49-F238E27FC236}">
                  <a16:creationId xmlns:a16="http://schemas.microsoft.com/office/drawing/2014/main" id="{2F637CF3-68A9-5DE5-9891-039B12A93081}"/>
                </a:ext>
              </a:extLst>
            </p:cNvPr>
            <p:cNvSpPr txBox="1"/>
            <p:nvPr/>
          </p:nvSpPr>
          <p:spPr>
            <a:xfrm>
              <a:off x="4399384" y="650957"/>
              <a:ext cx="1996892" cy="400110"/>
            </a:xfrm>
            <a:prstGeom prst="rect">
              <a:avLst/>
            </a:prstGeom>
            <a:noFill/>
          </p:spPr>
          <p:txBody>
            <a:bodyPr wrap="none" rtlCol="0">
              <a:spAutoFit/>
            </a:bodyPr>
            <a:lstStyle/>
            <a:p>
              <a:pPr algn="ctr"/>
              <a:r>
                <a:rPr lang="en-US" sz="2000" dirty="0">
                  <a:latin typeface="Calibri" panose="020F0502020204030204" pitchFamily="34" charset="0"/>
                  <a:cs typeface="Calibri" panose="020F0502020204030204" pitchFamily="34" charset="0"/>
                </a:rPr>
                <a:t>Intel-Hynix TCC-D</a:t>
              </a:r>
            </a:p>
          </p:txBody>
        </p:sp>
        <p:sp>
          <p:nvSpPr>
            <p:cNvPr id="88" name="TextBox 87">
              <a:extLst>
                <a:ext uri="{FF2B5EF4-FFF2-40B4-BE49-F238E27FC236}">
                  <a16:creationId xmlns:a16="http://schemas.microsoft.com/office/drawing/2014/main" id="{6BA9ED7D-4B8F-37E6-52DB-151FAF023287}"/>
                </a:ext>
              </a:extLst>
            </p:cNvPr>
            <p:cNvSpPr txBox="1"/>
            <p:nvPr/>
          </p:nvSpPr>
          <p:spPr>
            <a:xfrm>
              <a:off x="5815370" y="1296285"/>
              <a:ext cx="125008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rPr>
                <a:t> </a:t>
              </a:r>
              <a:r>
                <a:rPr lang="en-US" sz="1200" b="1" dirty="0">
                  <a:solidFill>
                    <a:srgbClr val="FFFF00"/>
                  </a:solidFill>
                  <a:latin typeface="Calibri" panose="020F0502020204030204" pitchFamily="34" charset="0"/>
                  <a:cs typeface="Calibri" panose="020F0502020204030204" pitchFamily="34" charset="0"/>
                </a:rPr>
                <a:t>1</a:t>
              </a:r>
              <a:r>
                <a:rPr kumimoji="0" lang="en-US" sz="12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rPr>
                <a:t>GB, </a:t>
              </a:r>
              <a:r>
                <a:rPr lang="en-US" sz="1200" b="1" dirty="0">
                  <a:solidFill>
                    <a:srgbClr val="FFFF00"/>
                  </a:solidFill>
                  <a:latin typeface="Calibri" panose="020F0502020204030204" pitchFamily="34" charset="0"/>
                  <a:cs typeface="Calibri" panose="020F0502020204030204" pitchFamily="34" charset="0"/>
                </a:rPr>
                <a:t>2T</a:t>
              </a:r>
              <a:r>
                <a:rPr kumimoji="0" lang="en-US" sz="12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rPr>
                <a:t>B/s</a:t>
              </a:r>
              <a:r>
                <a:rPr lang="en-US" sz="1200" b="1" dirty="0">
                  <a:solidFill>
                    <a:srgbClr val="FFFF00"/>
                  </a:solidFill>
                  <a:latin typeface="Calibri" panose="020F0502020204030204" pitchFamily="34" charset="0"/>
                  <a:cs typeface="Calibri" panose="020F05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FF00"/>
                  </a:solidFill>
                  <a:latin typeface="Calibri" panose="020F0502020204030204" pitchFamily="34" charset="0"/>
                  <a:cs typeface="Calibri" panose="020F0502020204030204" pitchFamily="34" charset="0"/>
                </a:rPr>
                <a:t>64mm</a:t>
              </a:r>
              <a:r>
                <a:rPr lang="en-US" sz="1200" b="1" baseline="30000" dirty="0">
                  <a:solidFill>
                    <a:srgbClr val="FFFF00"/>
                  </a:solidFill>
                  <a:latin typeface="Calibri" panose="020F0502020204030204" pitchFamily="34" charset="0"/>
                  <a:cs typeface="Calibri" panose="020F0502020204030204" pitchFamily="34" charset="0"/>
                </a:rPr>
                <a:t>2</a:t>
              </a:r>
              <a:endParaRPr kumimoji="0" lang="en-US" sz="12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endParaRPr>
            </a:p>
          </p:txBody>
        </p:sp>
        <p:sp>
          <p:nvSpPr>
            <p:cNvPr id="111" name="TextBox 110">
              <a:extLst>
                <a:ext uri="{FF2B5EF4-FFF2-40B4-BE49-F238E27FC236}">
                  <a16:creationId xmlns:a16="http://schemas.microsoft.com/office/drawing/2014/main" id="{F1355BED-EAC5-E542-8266-481522AFE1F6}"/>
                </a:ext>
              </a:extLst>
            </p:cNvPr>
            <p:cNvSpPr txBox="1"/>
            <p:nvPr/>
          </p:nvSpPr>
          <p:spPr>
            <a:xfrm>
              <a:off x="3568325" y="1433355"/>
              <a:ext cx="125008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rPr>
                <a:t> 1 GB, 256GB/s</a:t>
              </a:r>
              <a:r>
                <a:rPr lang="en-US" sz="1100" b="1" dirty="0">
                  <a:solidFill>
                    <a:srgbClr val="FFFF00"/>
                  </a:solidFill>
                  <a:latin typeface="Calibri" panose="020F0502020204030204" pitchFamily="34" charset="0"/>
                  <a:cs typeface="Calibri" panose="020F0502020204030204" pitchFamily="34" charset="0"/>
                </a:rPr>
                <a:t> 50mm</a:t>
              </a:r>
              <a:r>
                <a:rPr lang="en-US" sz="1100" b="1" baseline="30000" dirty="0">
                  <a:solidFill>
                    <a:srgbClr val="FFFF00"/>
                  </a:solidFill>
                  <a:latin typeface="Calibri" panose="020F0502020204030204" pitchFamily="34" charset="0"/>
                  <a:cs typeface="Calibri" panose="020F0502020204030204" pitchFamily="34" charset="0"/>
                </a:rPr>
                <a:t>2</a:t>
              </a:r>
              <a:endParaRPr kumimoji="0" lang="en-US" sz="10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endParaRPr>
            </a:p>
          </p:txBody>
        </p:sp>
        <p:grpSp>
          <p:nvGrpSpPr>
            <p:cNvPr id="123" name="Group 122">
              <a:extLst>
                <a:ext uri="{FF2B5EF4-FFF2-40B4-BE49-F238E27FC236}">
                  <a16:creationId xmlns:a16="http://schemas.microsoft.com/office/drawing/2014/main" id="{060522DA-5FF9-BB05-1FE6-3A8AE8D83806}"/>
                </a:ext>
              </a:extLst>
            </p:cNvPr>
            <p:cNvGrpSpPr/>
            <p:nvPr/>
          </p:nvGrpSpPr>
          <p:grpSpPr>
            <a:xfrm>
              <a:off x="3515056" y="2316981"/>
              <a:ext cx="1402671" cy="789485"/>
              <a:chOff x="3388370" y="2325800"/>
              <a:chExt cx="2141131" cy="757392"/>
            </a:xfrm>
          </p:grpSpPr>
          <p:grpSp>
            <p:nvGrpSpPr>
              <p:cNvPr id="124" name="Group 123">
                <a:extLst>
                  <a:ext uri="{FF2B5EF4-FFF2-40B4-BE49-F238E27FC236}">
                    <a16:creationId xmlns:a16="http://schemas.microsoft.com/office/drawing/2014/main" id="{A0FEB477-96AD-E6A9-8E6D-CF85D56DABA9}"/>
                  </a:ext>
                </a:extLst>
              </p:cNvPr>
              <p:cNvGrpSpPr/>
              <p:nvPr/>
            </p:nvGrpSpPr>
            <p:grpSpPr>
              <a:xfrm>
                <a:off x="3388370" y="2500708"/>
                <a:ext cx="2049973" cy="582484"/>
                <a:chOff x="9170857" y="5056405"/>
                <a:chExt cx="2049973" cy="582484"/>
              </a:xfrm>
            </p:grpSpPr>
            <p:sp>
              <p:nvSpPr>
                <p:cNvPr id="130" name="Diamond 129">
                  <a:extLst>
                    <a:ext uri="{FF2B5EF4-FFF2-40B4-BE49-F238E27FC236}">
                      <a16:creationId xmlns:a16="http://schemas.microsoft.com/office/drawing/2014/main" id="{10CC5FFD-742C-F49F-E77F-F3EE2676DA63}"/>
                    </a:ext>
                  </a:extLst>
                </p:cNvPr>
                <p:cNvSpPr/>
                <p:nvPr/>
              </p:nvSpPr>
              <p:spPr>
                <a:xfrm>
                  <a:off x="9170857" y="520302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31" name="Diamond 130">
                  <a:extLst>
                    <a:ext uri="{FF2B5EF4-FFF2-40B4-BE49-F238E27FC236}">
                      <a16:creationId xmlns:a16="http://schemas.microsoft.com/office/drawing/2014/main" id="{AF1A110B-7AF9-940A-005A-C87467B6D6B5}"/>
                    </a:ext>
                  </a:extLst>
                </p:cNvPr>
                <p:cNvSpPr/>
                <p:nvPr/>
              </p:nvSpPr>
              <p:spPr>
                <a:xfrm>
                  <a:off x="9678133" y="5348313"/>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32" name="Diamond 131">
                  <a:extLst>
                    <a:ext uri="{FF2B5EF4-FFF2-40B4-BE49-F238E27FC236}">
                      <a16:creationId xmlns:a16="http://schemas.microsoft.com/office/drawing/2014/main" id="{2DC78C9D-58C2-26CD-D42A-5E58D549F7A5}"/>
                    </a:ext>
                  </a:extLst>
                </p:cNvPr>
                <p:cNvSpPr/>
                <p:nvPr/>
              </p:nvSpPr>
              <p:spPr>
                <a:xfrm>
                  <a:off x="9678132" y="505640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33" name="Diamond 132">
                  <a:extLst>
                    <a:ext uri="{FF2B5EF4-FFF2-40B4-BE49-F238E27FC236}">
                      <a16:creationId xmlns:a16="http://schemas.microsoft.com/office/drawing/2014/main" id="{9A0B49C2-6D61-BCC8-8766-C8CA01FACA91}"/>
                    </a:ext>
                  </a:extLst>
                </p:cNvPr>
                <p:cNvSpPr/>
                <p:nvPr/>
              </p:nvSpPr>
              <p:spPr>
                <a:xfrm>
                  <a:off x="10206277" y="5201422"/>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grpSp>
          <p:grpSp>
            <p:nvGrpSpPr>
              <p:cNvPr id="125" name="Group 124">
                <a:extLst>
                  <a:ext uri="{FF2B5EF4-FFF2-40B4-BE49-F238E27FC236}">
                    <a16:creationId xmlns:a16="http://schemas.microsoft.com/office/drawing/2014/main" id="{2687A932-866A-8213-3C81-6D5432815CA7}"/>
                  </a:ext>
                </a:extLst>
              </p:cNvPr>
              <p:cNvGrpSpPr/>
              <p:nvPr/>
            </p:nvGrpSpPr>
            <p:grpSpPr>
              <a:xfrm>
                <a:off x="3479528" y="2325800"/>
                <a:ext cx="2049973" cy="582484"/>
                <a:chOff x="9170857" y="5056405"/>
                <a:chExt cx="2049973" cy="582484"/>
              </a:xfrm>
            </p:grpSpPr>
            <p:sp>
              <p:nvSpPr>
                <p:cNvPr id="126" name="Diamond 125">
                  <a:extLst>
                    <a:ext uri="{FF2B5EF4-FFF2-40B4-BE49-F238E27FC236}">
                      <a16:creationId xmlns:a16="http://schemas.microsoft.com/office/drawing/2014/main" id="{C6396E7F-536E-DF9A-6145-E858369E359A}"/>
                    </a:ext>
                  </a:extLst>
                </p:cNvPr>
                <p:cNvSpPr/>
                <p:nvPr/>
              </p:nvSpPr>
              <p:spPr>
                <a:xfrm>
                  <a:off x="9170857" y="520302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27" name="Diamond 126">
                  <a:extLst>
                    <a:ext uri="{FF2B5EF4-FFF2-40B4-BE49-F238E27FC236}">
                      <a16:creationId xmlns:a16="http://schemas.microsoft.com/office/drawing/2014/main" id="{4D3466A9-FE45-8F7D-C1D3-BC2C21D313FF}"/>
                    </a:ext>
                  </a:extLst>
                </p:cNvPr>
                <p:cNvSpPr/>
                <p:nvPr/>
              </p:nvSpPr>
              <p:spPr>
                <a:xfrm>
                  <a:off x="9678133" y="5348313"/>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28" name="Diamond 127">
                  <a:extLst>
                    <a:ext uri="{FF2B5EF4-FFF2-40B4-BE49-F238E27FC236}">
                      <a16:creationId xmlns:a16="http://schemas.microsoft.com/office/drawing/2014/main" id="{3E834824-B9C5-E9C4-6ED4-D61C8C3B5EA1}"/>
                    </a:ext>
                  </a:extLst>
                </p:cNvPr>
                <p:cNvSpPr/>
                <p:nvPr/>
              </p:nvSpPr>
              <p:spPr>
                <a:xfrm>
                  <a:off x="9678132" y="5056405"/>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sp>
              <p:nvSpPr>
                <p:cNvPr id="129" name="Diamond 128">
                  <a:extLst>
                    <a:ext uri="{FF2B5EF4-FFF2-40B4-BE49-F238E27FC236}">
                      <a16:creationId xmlns:a16="http://schemas.microsoft.com/office/drawing/2014/main" id="{EF10CD59-1915-BB8B-6CFA-BE6D58A6372E}"/>
                    </a:ext>
                  </a:extLst>
                </p:cNvPr>
                <p:cNvSpPr/>
                <p:nvPr/>
              </p:nvSpPr>
              <p:spPr>
                <a:xfrm>
                  <a:off x="10206277" y="5201422"/>
                  <a:ext cx="1014553" cy="290576"/>
                </a:xfrm>
                <a:prstGeom prst="diamond">
                  <a:avLst/>
                </a:prstGeom>
                <a:solidFill>
                  <a:schemeClr val="accent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Calibri" panose="020F0502020204030204" pitchFamily="34" charset="0"/>
                    <a:cs typeface="Calibri" panose="020F0502020204030204" pitchFamily="34" charset="0"/>
                  </a:endParaRPr>
                </a:p>
              </p:txBody>
            </p:sp>
          </p:grpSp>
        </p:grpSp>
        <p:sp>
          <p:nvSpPr>
            <p:cNvPr id="141" name="TextBox 140">
              <a:extLst>
                <a:ext uri="{FF2B5EF4-FFF2-40B4-BE49-F238E27FC236}">
                  <a16:creationId xmlns:a16="http://schemas.microsoft.com/office/drawing/2014/main" id="{B103BD3A-4A4F-8E42-D93A-634E9E06B1A0}"/>
                </a:ext>
              </a:extLst>
            </p:cNvPr>
            <p:cNvSpPr txBox="1"/>
            <p:nvPr/>
          </p:nvSpPr>
          <p:spPr>
            <a:xfrm>
              <a:off x="3581364" y="2430999"/>
              <a:ext cx="125008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rPr>
                <a:t> </a:t>
              </a:r>
              <a:r>
                <a:rPr lang="en-US" sz="1000" b="1" dirty="0">
                  <a:solidFill>
                    <a:srgbClr val="FFFF00"/>
                  </a:solidFill>
                  <a:latin typeface="Calibri" panose="020F0502020204030204" pitchFamily="34" charset="0"/>
                  <a:cs typeface="Calibri" panose="020F0502020204030204" pitchFamily="34" charset="0"/>
                </a:rPr>
                <a:t>2</a:t>
              </a:r>
              <a:r>
                <a:rPr kumimoji="0" lang="en-US" sz="10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rPr>
                <a:t> GB, 256GB/s</a:t>
              </a:r>
              <a:r>
                <a:rPr lang="en-US" sz="1100" b="1" dirty="0">
                  <a:solidFill>
                    <a:srgbClr val="FFFF00"/>
                  </a:solidFill>
                  <a:latin typeface="Calibri" panose="020F0502020204030204" pitchFamily="34" charset="0"/>
                  <a:cs typeface="Calibri" panose="020F0502020204030204" pitchFamily="34" charset="0"/>
                </a:rPr>
                <a:t> 50mm</a:t>
              </a:r>
              <a:r>
                <a:rPr lang="en-US" sz="1100" b="1" baseline="30000" dirty="0">
                  <a:solidFill>
                    <a:srgbClr val="FFFF00"/>
                  </a:solidFill>
                  <a:latin typeface="Calibri" panose="020F0502020204030204" pitchFamily="34" charset="0"/>
                  <a:cs typeface="Calibri" panose="020F0502020204030204" pitchFamily="34" charset="0"/>
                </a:rPr>
                <a:t>2</a:t>
              </a:r>
              <a:endParaRPr kumimoji="0" lang="en-US" sz="1000" b="1" i="0" u="none" strike="noStrike" kern="1200" cap="none" spc="0" normalizeH="0" baseline="0" noProof="0" dirty="0">
                <a:ln>
                  <a:noFill/>
                </a:ln>
                <a:solidFill>
                  <a:srgbClr val="FFFF00"/>
                </a:solidFill>
                <a:effectLst/>
                <a:uLnTx/>
                <a:uFillTx/>
                <a:latin typeface="Calibri" panose="020F0502020204030204" pitchFamily="34" charset="0"/>
                <a:cs typeface="Calibri" panose="020F0502020204030204" pitchFamily="34" charset="0"/>
              </a:endParaRPr>
            </a:p>
          </p:txBody>
        </p:sp>
      </p:grpSp>
      <p:grpSp>
        <p:nvGrpSpPr>
          <p:cNvPr id="152" name="Group 151">
            <a:extLst>
              <a:ext uri="{FF2B5EF4-FFF2-40B4-BE49-F238E27FC236}">
                <a16:creationId xmlns:a16="http://schemas.microsoft.com/office/drawing/2014/main" id="{12442813-87EF-995E-30F9-9EDA874B71F3}"/>
              </a:ext>
            </a:extLst>
          </p:cNvPr>
          <p:cNvGrpSpPr/>
          <p:nvPr/>
        </p:nvGrpSpPr>
        <p:grpSpPr>
          <a:xfrm>
            <a:off x="7788928" y="4426820"/>
            <a:ext cx="4319654" cy="1931037"/>
            <a:chOff x="7788928" y="4426820"/>
            <a:chExt cx="4319654" cy="1931037"/>
          </a:xfrm>
        </p:grpSpPr>
        <p:pic>
          <p:nvPicPr>
            <p:cNvPr id="144" name="Picture 143">
              <a:extLst>
                <a:ext uri="{FF2B5EF4-FFF2-40B4-BE49-F238E27FC236}">
                  <a16:creationId xmlns:a16="http://schemas.microsoft.com/office/drawing/2014/main" id="{0577F080-EBF0-3D90-17D3-4A2D588D57CB}"/>
                </a:ext>
              </a:extLst>
            </p:cNvPr>
            <p:cNvPicPr>
              <a:picLocks noChangeAspect="1"/>
            </p:cNvPicPr>
            <p:nvPr/>
          </p:nvPicPr>
          <p:blipFill rotWithShape="1">
            <a:blip r:embed="rId7"/>
            <a:srcRect l="17120" t="26910" r="17580" b="37151"/>
            <a:stretch/>
          </p:blipFill>
          <p:spPr>
            <a:xfrm>
              <a:off x="7788928" y="5042373"/>
              <a:ext cx="4319654" cy="1315484"/>
            </a:xfrm>
            <a:prstGeom prst="rect">
              <a:avLst/>
            </a:prstGeom>
          </p:spPr>
        </p:pic>
        <p:sp>
          <p:nvSpPr>
            <p:cNvPr id="145" name="TextBox 144">
              <a:extLst>
                <a:ext uri="{FF2B5EF4-FFF2-40B4-BE49-F238E27FC236}">
                  <a16:creationId xmlns:a16="http://schemas.microsoft.com/office/drawing/2014/main" id="{996E5213-2F43-F986-31B7-17946BE7BE6F}"/>
                </a:ext>
              </a:extLst>
            </p:cNvPr>
            <p:cNvSpPr txBox="1"/>
            <p:nvPr/>
          </p:nvSpPr>
          <p:spPr>
            <a:xfrm>
              <a:off x="8754261" y="4426820"/>
              <a:ext cx="2388987" cy="615553"/>
            </a:xfrm>
            <a:prstGeom prst="rect">
              <a:avLst/>
            </a:prstGeom>
            <a:noFill/>
          </p:spPr>
          <p:txBody>
            <a:bodyPr wrap="none" rtlCol="0">
              <a:spAutoFit/>
            </a:bodyPr>
            <a:lstStyle/>
            <a:p>
              <a:r>
                <a:rPr lang="en-US" sz="2000" dirty="0"/>
                <a:t>Samsung LLW/LLC</a:t>
              </a:r>
            </a:p>
            <a:p>
              <a:pPr algn="ctr"/>
              <a:r>
                <a:rPr lang="en-US" sz="1400" dirty="0"/>
                <a:t>a.k.a. DBM, SKH ULP </a:t>
              </a:r>
            </a:p>
          </p:txBody>
        </p:sp>
      </p:grpSp>
      <p:grpSp>
        <p:nvGrpSpPr>
          <p:cNvPr id="151" name="Group 150">
            <a:extLst>
              <a:ext uri="{FF2B5EF4-FFF2-40B4-BE49-F238E27FC236}">
                <a16:creationId xmlns:a16="http://schemas.microsoft.com/office/drawing/2014/main" id="{6B7151D8-5438-6B47-35B6-26C71D2F4DFA}"/>
              </a:ext>
            </a:extLst>
          </p:cNvPr>
          <p:cNvGrpSpPr/>
          <p:nvPr/>
        </p:nvGrpSpPr>
        <p:grpSpPr>
          <a:xfrm>
            <a:off x="8377196" y="842785"/>
            <a:ext cx="2895600" cy="3303304"/>
            <a:chOff x="8377196" y="842785"/>
            <a:chExt cx="2895600" cy="3303304"/>
          </a:xfrm>
        </p:grpSpPr>
        <p:pic>
          <p:nvPicPr>
            <p:cNvPr id="147" name="Picture 146">
              <a:extLst>
                <a:ext uri="{FF2B5EF4-FFF2-40B4-BE49-F238E27FC236}">
                  <a16:creationId xmlns:a16="http://schemas.microsoft.com/office/drawing/2014/main" id="{87B8ED7A-7200-9BFB-C13C-CC5BD2F004EF}"/>
                </a:ext>
              </a:extLst>
            </p:cNvPr>
            <p:cNvPicPr>
              <a:picLocks noChangeAspect="1"/>
            </p:cNvPicPr>
            <p:nvPr/>
          </p:nvPicPr>
          <p:blipFill>
            <a:blip r:embed="rId8"/>
            <a:stretch>
              <a:fillRect/>
            </a:stretch>
          </p:blipFill>
          <p:spPr>
            <a:xfrm>
              <a:off x="8377196" y="842785"/>
              <a:ext cx="2895600" cy="1333500"/>
            </a:xfrm>
            <a:prstGeom prst="rect">
              <a:avLst/>
            </a:prstGeom>
          </p:spPr>
        </p:pic>
        <p:pic>
          <p:nvPicPr>
            <p:cNvPr id="148" name="Picture 147">
              <a:extLst>
                <a:ext uri="{FF2B5EF4-FFF2-40B4-BE49-F238E27FC236}">
                  <a16:creationId xmlns:a16="http://schemas.microsoft.com/office/drawing/2014/main" id="{6A925BDA-ADA2-2C22-ABA8-A6885F5731E6}"/>
                </a:ext>
              </a:extLst>
            </p:cNvPr>
            <p:cNvPicPr>
              <a:picLocks noChangeAspect="1"/>
            </p:cNvPicPr>
            <p:nvPr/>
          </p:nvPicPr>
          <p:blipFill>
            <a:blip r:embed="rId9"/>
            <a:stretch>
              <a:fillRect/>
            </a:stretch>
          </p:blipFill>
          <p:spPr>
            <a:xfrm>
              <a:off x="8594396" y="2286037"/>
              <a:ext cx="2360835" cy="1860052"/>
            </a:xfrm>
            <a:prstGeom prst="rect">
              <a:avLst/>
            </a:prstGeom>
          </p:spPr>
        </p:pic>
      </p:grpSp>
    </p:spTree>
    <p:extLst>
      <p:ext uri="{BB962C8B-B14F-4D97-AF65-F5344CB8AC3E}">
        <p14:creationId xmlns:p14="http://schemas.microsoft.com/office/powerpoint/2010/main" val="3559694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ABABF-1912-AD4E-BC45-28EAE79AEEA0}"/>
              </a:ext>
            </a:extLst>
          </p:cNvPr>
          <p:cNvSpPr>
            <a:spLocks noGrp="1"/>
          </p:cNvSpPr>
          <p:nvPr>
            <p:ph type="ctrTitle"/>
          </p:nvPr>
        </p:nvSpPr>
        <p:spPr/>
        <p:txBody>
          <a:bodyPr/>
          <a:lstStyle/>
          <a:p>
            <a:r>
              <a:rPr lang="en-US" sz="4400" dirty="0"/>
              <a:t>IPM Benchmark</a:t>
            </a:r>
          </a:p>
        </p:txBody>
      </p:sp>
      <p:sp>
        <p:nvSpPr>
          <p:cNvPr id="3" name="Content Placeholder 2">
            <a:extLst>
              <a:ext uri="{FF2B5EF4-FFF2-40B4-BE49-F238E27FC236}">
                <a16:creationId xmlns:a16="http://schemas.microsoft.com/office/drawing/2014/main" id="{BD61A205-E58C-1251-9045-43E75AB05619}"/>
              </a:ext>
            </a:extLst>
          </p:cNvPr>
          <p:cNvSpPr>
            <a:spLocks noGrp="1"/>
          </p:cNvSpPr>
          <p:nvPr>
            <p:ph type="subTitle" idx="1"/>
          </p:nvPr>
        </p:nvSpPr>
        <p:spPr>
          <a:xfrm>
            <a:off x="1280164" y="3886201"/>
            <a:ext cx="9619488" cy="1752600"/>
          </a:xfrm>
        </p:spPr>
        <p:txBody>
          <a:bodyPr/>
          <a:lstStyle/>
          <a:p>
            <a:r>
              <a:rPr lang="en-US" sz="3200" dirty="0"/>
              <a:t>What is the metric</a:t>
            </a:r>
          </a:p>
          <a:p>
            <a:r>
              <a:rPr lang="en-US" sz="3200" dirty="0"/>
              <a:t>Benchmark</a:t>
            </a:r>
          </a:p>
        </p:txBody>
      </p:sp>
    </p:spTree>
    <p:extLst>
      <p:ext uri="{BB962C8B-B14F-4D97-AF65-F5344CB8AC3E}">
        <p14:creationId xmlns:p14="http://schemas.microsoft.com/office/powerpoint/2010/main" val="25844831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7E135-6A76-0245-A9CC-855A7AD16C79}"/>
              </a:ext>
            </a:extLst>
          </p:cNvPr>
          <p:cNvSpPr>
            <a:spLocks noGrp="1"/>
          </p:cNvSpPr>
          <p:nvPr>
            <p:ph type="title"/>
          </p:nvPr>
        </p:nvSpPr>
        <p:spPr>
          <a:xfrm>
            <a:off x="1130795" y="482316"/>
            <a:ext cx="10360501" cy="914400"/>
          </a:xfrm>
        </p:spPr>
        <p:txBody>
          <a:bodyPr/>
          <a:lstStyle/>
          <a:p>
            <a:pPr marL="12700" indent="-12700"/>
            <a:r>
              <a:rPr lang="en-US" sz="3200" dirty="0"/>
              <a:t>Incumbent Technologies in Memory/Storage Hierarchy</a:t>
            </a:r>
            <a:endParaRPr lang="en-US" sz="3600" dirty="0"/>
          </a:p>
        </p:txBody>
      </p:sp>
      <p:sp>
        <p:nvSpPr>
          <p:cNvPr id="3" name="Content Placeholder 2">
            <a:extLst>
              <a:ext uri="{FF2B5EF4-FFF2-40B4-BE49-F238E27FC236}">
                <a16:creationId xmlns:a16="http://schemas.microsoft.com/office/drawing/2014/main" id="{BD8F1A2F-B85B-5D4E-880E-DADAF725A3C6}"/>
              </a:ext>
            </a:extLst>
          </p:cNvPr>
          <p:cNvSpPr>
            <a:spLocks noGrp="1"/>
          </p:cNvSpPr>
          <p:nvPr>
            <p:ph idx="1"/>
          </p:nvPr>
        </p:nvSpPr>
        <p:spPr>
          <a:xfrm>
            <a:off x="617871" y="1471362"/>
            <a:ext cx="10956259" cy="2083061"/>
          </a:xfrm>
        </p:spPr>
        <p:txBody>
          <a:bodyPr>
            <a:normAutofit/>
          </a:bodyPr>
          <a:lstStyle/>
          <a:p>
            <a:pPr marL="0" indent="0">
              <a:spcBef>
                <a:spcPts val="0"/>
              </a:spcBef>
              <a:buNone/>
            </a:pPr>
            <a:r>
              <a:rPr lang="en-US" sz="1600" dirty="0">
                <a:ea typeface="Calibri" pitchFamily="34" charset="0"/>
                <a:cs typeface="Arial" pitchFamily="34" charset="0"/>
              </a:rPr>
              <a:t>“</a:t>
            </a:r>
            <a:r>
              <a:rPr lang="en-US" sz="1800" i="1" dirty="0">
                <a:ea typeface="Calibri" pitchFamily="34" charset="0"/>
                <a:cs typeface="Arial" pitchFamily="34" charset="0"/>
              </a:rPr>
              <a:t>The Memory Organ – </a:t>
            </a:r>
            <a:r>
              <a:rPr lang="en-US" sz="1800" i="1" dirty="0">
                <a:solidFill>
                  <a:srgbClr val="C00000"/>
                </a:solidFill>
                <a:ea typeface="Calibri" pitchFamily="34" charset="0"/>
                <a:cs typeface="Arial" pitchFamily="34" charset="0"/>
              </a:rPr>
              <a:t>Ideally </a:t>
            </a:r>
            <a:r>
              <a:rPr lang="en-US" sz="1800" i="1" dirty="0">
                <a:ea typeface="Calibri" pitchFamily="34" charset="0"/>
                <a:cs typeface="Arial" pitchFamily="34" charset="0"/>
              </a:rPr>
              <a:t>one would desire </a:t>
            </a:r>
            <a:r>
              <a:rPr lang="en-US" sz="1800" i="1" dirty="0">
                <a:solidFill>
                  <a:srgbClr val="C00000"/>
                </a:solidFill>
                <a:ea typeface="Calibri" pitchFamily="34" charset="0"/>
                <a:cs typeface="Arial" pitchFamily="34" charset="0"/>
              </a:rPr>
              <a:t>an indefinitely large memory capacity </a:t>
            </a:r>
            <a:r>
              <a:rPr lang="en-US" sz="1800" i="1" dirty="0">
                <a:ea typeface="Calibri" pitchFamily="34" charset="0"/>
                <a:cs typeface="Arial" pitchFamily="34" charset="0"/>
              </a:rPr>
              <a:t>such that any particular … </a:t>
            </a:r>
            <a:r>
              <a:rPr lang="en-US" sz="1800" i="1" dirty="0">
                <a:solidFill>
                  <a:srgbClr val="C00000"/>
                </a:solidFill>
                <a:ea typeface="Calibri" pitchFamily="34" charset="0"/>
                <a:cs typeface="Arial" pitchFamily="34" charset="0"/>
              </a:rPr>
              <a:t>word </a:t>
            </a:r>
            <a:r>
              <a:rPr lang="en-US" sz="1800" i="1" dirty="0">
                <a:ea typeface="Calibri" pitchFamily="34" charset="0"/>
                <a:cs typeface="Arial" pitchFamily="34" charset="0"/>
              </a:rPr>
              <a:t>would be </a:t>
            </a:r>
            <a:r>
              <a:rPr lang="en-US" sz="1800" i="1" dirty="0">
                <a:solidFill>
                  <a:srgbClr val="C00000"/>
                </a:solidFill>
                <a:ea typeface="Calibri" pitchFamily="34" charset="0"/>
                <a:cs typeface="Arial" pitchFamily="34" charset="0"/>
              </a:rPr>
              <a:t>immediately</a:t>
            </a:r>
            <a:r>
              <a:rPr lang="en-US" sz="1800" i="1" dirty="0">
                <a:ea typeface="Calibri" pitchFamily="34" charset="0"/>
                <a:cs typeface="Arial" pitchFamily="34" charset="0"/>
              </a:rPr>
              <a:t> … available.  … It does not seem possible physically to achieve such a capacity.  …We are therefore forced to recognize the possibility of constructing </a:t>
            </a:r>
            <a:r>
              <a:rPr lang="en-US" sz="1800" i="1" dirty="0">
                <a:solidFill>
                  <a:srgbClr val="C00000"/>
                </a:solidFill>
                <a:ea typeface="Calibri" pitchFamily="34" charset="0"/>
                <a:cs typeface="Arial" pitchFamily="34" charset="0"/>
              </a:rPr>
              <a:t>a hierarchy of memories</a:t>
            </a:r>
            <a:r>
              <a:rPr lang="en-US" sz="1800" i="1" dirty="0">
                <a:ea typeface="Calibri" pitchFamily="34" charset="0"/>
                <a:cs typeface="Arial" pitchFamily="34" charset="0"/>
              </a:rPr>
              <a:t>, each of which has greater capacity than the preceding but which is less quickly accessible</a:t>
            </a:r>
            <a:r>
              <a:rPr lang="en-US" sz="1800" dirty="0">
                <a:ea typeface="Calibri" pitchFamily="34" charset="0"/>
                <a:cs typeface="Arial" pitchFamily="34" charset="0"/>
              </a:rPr>
              <a:t>.”</a:t>
            </a:r>
          </a:p>
          <a:p>
            <a:pPr marL="0" indent="0">
              <a:spcBef>
                <a:spcPts val="0"/>
              </a:spcBef>
              <a:buNone/>
            </a:pPr>
            <a:endParaRPr lang="en-US" sz="1800" dirty="0">
              <a:ea typeface="Calibri" pitchFamily="34" charset="0"/>
              <a:cs typeface="Arial" pitchFamily="34" charset="0"/>
            </a:endParaRPr>
          </a:p>
          <a:p>
            <a:pPr marL="7935" indent="0" algn="r" defTabSz="668088">
              <a:lnSpc>
                <a:spcPct val="85000"/>
              </a:lnSpc>
              <a:spcBef>
                <a:spcPts val="0"/>
              </a:spcBef>
              <a:buNone/>
            </a:pPr>
            <a:r>
              <a:rPr lang="en-US" sz="1400" dirty="0">
                <a:ea typeface="Calibri" pitchFamily="34" charset="0"/>
                <a:cs typeface="Arial" pitchFamily="34" charset="0"/>
              </a:rPr>
              <a:t>Preliminary Discussion of the Logical Design of an Electronic Computing Instrument </a:t>
            </a:r>
            <a:endParaRPr lang="en-US" sz="1400" i="1" dirty="0">
              <a:ea typeface="Calibri" pitchFamily="34" charset="0"/>
              <a:cs typeface="Arial" pitchFamily="34" charset="0"/>
            </a:endParaRPr>
          </a:p>
          <a:p>
            <a:pPr marL="81615" indent="0" algn="r" defTabSz="668088">
              <a:lnSpc>
                <a:spcPct val="85000"/>
              </a:lnSpc>
              <a:spcBef>
                <a:spcPts val="0"/>
              </a:spcBef>
              <a:buNone/>
            </a:pPr>
            <a:r>
              <a:rPr lang="en-US" sz="1400" i="1" dirty="0">
                <a:ea typeface="Calibri" pitchFamily="34" charset="0"/>
                <a:cs typeface="Arial" pitchFamily="34" charset="0"/>
              </a:rPr>
              <a:t>Arthur Burks, Herman </a:t>
            </a:r>
            <a:r>
              <a:rPr lang="en-US" sz="1400" i="1" dirty="0" err="1">
                <a:ea typeface="Calibri" pitchFamily="34" charset="0"/>
                <a:cs typeface="Arial" pitchFamily="34" charset="0"/>
              </a:rPr>
              <a:t>Goldstine</a:t>
            </a:r>
            <a:r>
              <a:rPr lang="en-US" sz="1400" i="1" dirty="0">
                <a:ea typeface="Calibri" pitchFamily="34" charset="0"/>
                <a:cs typeface="Arial" pitchFamily="34" charset="0"/>
              </a:rPr>
              <a:t> and John von Neumann, </a:t>
            </a:r>
            <a:br>
              <a:rPr lang="en-US" sz="1400" i="1" dirty="0">
                <a:ea typeface="Calibri" pitchFamily="34" charset="0"/>
                <a:cs typeface="Arial" pitchFamily="34" charset="0"/>
              </a:rPr>
            </a:br>
            <a:r>
              <a:rPr lang="en-US" sz="1400" i="1" dirty="0">
                <a:ea typeface="Calibri" pitchFamily="34" charset="0"/>
                <a:cs typeface="Arial" pitchFamily="34" charset="0"/>
              </a:rPr>
              <a:t>June/28/1946</a:t>
            </a:r>
            <a:endParaRPr lang="en-US" sz="1400" dirty="0"/>
          </a:p>
          <a:p>
            <a:pPr marL="0" indent="0">
              <a:spcBef>
                <a:spcPts val="0"/>
              </a:spcBef>
              <a:buNone/>
            </a:pPr>
            <a:endParaRPr lang="en-US" sz="1400" dirty="0">
              <a:ea typeface="Calibri" pitchFamily="34" charset="0"/>
              <a:cs typeface="Arial" pitchFamily="34" charset="0"/>
            </a:endParaRPr>
          </a:p>
          <a:p>
            <a:endParaRPr lang="en-US" sz="1600" dirty="0"/>
          </a:p>
        </p:txBody>
      </p:sp>
      <p:grpSp>
        <p:nvGrpSpPr>
          <p:cNvPr id="6" name="Group 5">
            <a:extLst>
              <a:ext uri="{FF2B5EF4-FFF2-40B4-BE49-F238E27FC236}">
                <a16:creationId xmlns:a16="http://schemas.microsoft.com/office/drawing/2014/main" id="{1DA0C247-13B4-698B-0AD9-2113DA04D7BC}"/>
              </a:ext>
            </a:extLst>
          </p:cNvPr>
          <p:cNvGrpSpPr/>
          <p:nvPr/>
        </p:nvGrpSpPr>
        <p:grpSpPr>
          <a:xfrm>
            <a:off x="4200615" y="3281516"/>
            <a:ext cx="4220859" cy="2804617"/>
            <a:chOff x="4200615" y="3429000"/>
            <a:chExt cx="4220859" cy="2804617"/>
          </a:xfrm>
        </p:grpSpPr>
        <p:graphicFrame>
          <p:nvGraphicFramePr>
            <p:cNvPr id="33" name="Diagram 32">
              <a:extLst>
                <a:ext uri="{FF2B5EF4-FFF2-40B4-BE49-F238E27FC236}">
                  <a16:creationId xmlns:a16="http://schemas.microsoft.com/office/drawing/2014/main" id="{8DBC7F19-7B71-034D-8802-98E695ADEE22}"/>
                </a:ext>
              </a:extLst>
            </p:cNvPr>
            <p:cNvGraphicFramePr/>
            <p:nvPr>
              <p:extLst>
                <p:ext uri="{D42A27DB-BD31-4B8C-83A1-F6EECF244321}">
                  <p14:modId xmlns:p14="http://schemas.microsoft.com/office/powerpoint/2010/main" val="1755909672"/>
                </p:ext>
              </p:extLst>
            </p:nvPr>
          </p:nvGraphicFramePr>
          <p:xfrm>
            <a:off x="4288915" y="3429001"/>
            <a:ext cx="3990389" cy="2804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44E8702-40CD-0043-8CF1-8189E7BA327B}"/>
                </a:ext>
              </a:extLst>
            </p:cNvPr>
            <p:cNvGrpSpPr/>
            <p:nvPr/>
          </p:nvGrpSpPr>
          <p:grpSpPr>
            <a:xfrm>
              <a:off x="4200615" y="3429000"/>
              <a:ext cx="4220859" cy="2729971"/>
              <a:chOff x="2352331" y="1854077"/>
              <a:chExt cx="6663779" cy="4270479"/>
            </a:xfrm>
          </p:grpSpPr>
          <p:cxnSp>
            <p:nvCxnSpPr>
              <p:cNvPr id="10" name="Straight Arrow Connector 9">
                <a:extLst>
                  <a:ext uri="{FF2B5EF4-FFF2-40B4-BE49-F238E27FC236}">
                    <a16:creationId xmlns:a16="http://schemas.microsoft.com/office/drawing/2014/main" id="{D9AE795A-A822-4848-AA3B-E75B17AAC8DB}"/>
                  </a:ext>
                </a:extLst>
              </p:cNvPr>
              <p:cNvCxnSpPr>
                <a:cxnSpLocks/>
              </p:cNvCxnSpPr>
              <p:nvPr/>
            </p:nvCxnSpPr>
            <p:spPr>
              <a:xfrm flipH="1">
                <a:off x="2352331" y="1854078"/>
                <a:ext cx="2915794" cy="3960836"/>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9B96309-0913-D941-9CA0-174E80824A55}"/>
                  </a:ext>
                </a:extLst>
              </p:cNvPr>
              <p:cNvCxnSpPr>
                <a:cxnSpLocks/>
              </p:cNvCxnSpPr>
              <p:nvPr/>
            </p:nvCxnSpPr>
            <p:spPr>
              <a:xfrm flipH="1" flipV="1">
                <a:off x="6012926" y="1854077"/>
                <a:ext cx="3003184" cy="4270479"/>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0B6ED4C-DA47-AB40-886D-48564D5E729C}"/>
                  </a:ext>
                </a:extLst>
              </p:cNvPr>
              <p:cNvSpPr txBox="1"/>
              <p:nvPr/>
            </p:nvSpPr>
            <p:spPr>
              <a:xfrm rot="3240000">
                <a:off x="6503322" y="3302069"/>
                <a:ext cx="2469852" cy="510204"/>
              </a:xfrm>
              <a:prstGeom prst="rect">
                <a:avLst/>
              </a:prstGeom>
              <a:noFill/>
              <a:ln>
                <a:noFill/>
              </a:ln>
            </p:spPr>
            <p:txBody>
              <a:bodyPr wrap="square" rtlCol="0">
                <a:spAutoFit/>
              </a:bodyPr>
              <a:lstStyle/>
              <a:p>
                <a:pPr defTabSz="609405"/>
                <a:r>
                  <a:rPr lang="en-US" sz="1500" dirty="0"/>
                  <a:t>Bandwidth, Cost</a:t>
                </a:r>
              </a:p>
            </p:txBody>
          </p:sp>
          <p:sp>
            <p:nvSpPr>
              <p:cNvPr id="22" name="TextBox 21">
                <a:extLst>
                  <a:ext uri="{FF2B5EF4-FFF2-40B4-BE49-F238E27FC236}">
                    <a16:creationId xmlns:a16="http://schemas.microsoft.com/office/drawing/2014/main" id="{FE749361-2C6E-4A4C-BEC2-276AC9AAFCFF}"/>
                  </a:ext>
                </a:extLst>
              </p:cNvPr>
              <p:cNvSpPr txBox="1"/>
              <p:nvPr/>
            </p:nvSpPr>
            <p:spPr>
              <a:xfrm rot="18360000">
                <a:off x="2328758" y="3322365"/>
                <a:ext cx="2465643" cy="469612"/>
              </a:xfrm>
              <a:prstGeom prst="rect">
                <a:avLst/>
              </a:prstGeom>
              <a:noFill/>
              <a:ln>
                <a:noFill/>
              </a:ln>
            </p:spPr>
            <p:txBody>
              <a:bodyPr wrap="none" rtlCol="0">
                <a:spAutoFit/>
              </a:bodyPr>
              <a:lstStyle/>
              <a:p>
                <a:pPr defTabSz="609405"/>
                <a:r>
                  <a:rPr lang="en-US" sz="1333" dirty="0"/>
                  <a:t>Capacity,  Latency</a:t>
                </a:r>
              </a:p>
            </p:txBody>
          </p:sp>
        </p:grpSp>
      </p:grpSp>
    </p:spTree>
    <p:extLst>
      <p:ext uri="{BB962C8B-B14F-4D97-AF65-F5344CB8AC3E}">
        <p14:creationId xmlns:p14="http://schemas.microsoft.com/office/powerpoint/2010/main" val="26341857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FB7F33-F72C-4045-5011-B544E6FB6B0B}"/>
              </a:ext>
            </a:extLst>
          </p:cNvPr>
          <p:cNvSpPr>
            <a:spLocks noGrp="1"/>
          </p:cNvSpPr>
          <p:nvPr>
            <p:ph type="title"/>
          </p:nvPr>
        </p:nvSpPr>
        <p:spPr/>
        <p:txBody>
          <a:bodyPr/>
          <a:lstStyle/>
          <a:p>
            <a:r>
              <a:rPr lang="en-US" dirty="0"/>
              <a:t>Memory Hierarchy</a:t>
            </a:r>
          </a:p>
        </p:txBody>
      </p:sp>
      <p:grpSp>
        <p:nvGrpSpPr>
          <p:cNvPr id="9" name="Group 8">
            <a:extLst>
              <a:ext uri="{FF2B5EF4-FFF2-40B4-BE49-F238E27FC236}">
                <a16:creationId xmlns:a16="http://schemas.microsoft.com/office/drawing/2014/main" id="{B1558374-7A9E-2EEA-16D8-C25377086BD4}"/>
              </a:ext>
            </a:extLst>
          </p:cNvPr>
          <p:cNvGrpSpPr/>
          <p:nvPr/>
        </p:nvGrpSpPr>
        <p:grpSpPr>
          <a:xfrm>
            <a:off x="3454001" y="4012197"/>
            <a:ext cx="4456797" cy="1321853"/>
            <a:chOff x="4722427" y="3160506"/>
            <a:chExt cx="2745009" cy="534459"/>
          </a:xfrm>
        </p:grpSpPr>
        <p:sp>
          <p:nvSpPr>
            <p:cNvPr id="54" name="Freeform: Shape 80">
              <a:extLst>
                <a:ext uri="{FF2B5EF4-FFF2-40B4-BE49-F238E27FC236}">
                  <a16:creationId xmlns:a16="http://schemas.microsoft.com/office/drawing/2014/main" id="{1EFD7E5B-BD75-42FF-4048-C91AD8E4E1D8}"/>
                </a:ext>
              </a:extLst>
            </p:cNvPr>
            <p:cNvSpPr/>
            <p:nvPr/>
          </p:nvSpPr>
          <p:spPr>
            <a:xfrm>
              <a:off x="4722427" y="3409120"/>
              <a:ext cx="2743200" cy="285750"/>
            </a:xfrm>
            <a:custGeom>
              <a:avLst/>
              <a:gdLst>
                <a:gd name="connsiteX0" fmla="*/ 5879 w 2743200"/>
                <a:gd name="connsiteY0" fmla="*/ 123512 h 285750"/>
                <a:gd name="connsiteX1" fmla="*/ 403071 w 2743200"/>
                <a:gd name="connsiteY1" fmla="*/ 5879 h 285750"/>
                <a:gd name="connsiteX2" fmla="*/ 2344838 w 2743200"/>
                <a:gd name="connsiteY2" fmla="*/ 5879 h 285750"/>
                <a:gd name="connsiteX3" fmla="*/ 2742888 w 2743200"/>
                <a:gd name="connsiteY3" fmla="*/ 129227 h 285750"/>
                <a:gd name="connsiteX4" fmla="*/ 2523431 w 2743200"/>
                <a:gd name="connsiteY4" fmla="*/ 281437 h 285750"/>
                <a:gd name="connsiteX5" fmla="*/ 225716 w 2743200"/>
                <a:gd name="connsiteY5" fmla="*/ 28143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3200" h="285750">
                  <a:moveTo>
                    <a:pt x="5879" y="123512"/>
                  </a:moveTo>
                  <a:lnTo>
                    <a:pt x="403071" y="5879"/>
                  </a:lnTo>
                  <a:lnTo>
                    <a:pt x="2344838" y="5879"/>
                  </a:lnTo>
                  <a:lnTo>
                    <a:pt x="2742888" y="129227"/>
                  </a:lnTo>
                  <a:lnTo>
                    <a:pt x="2523431" y="281437"/>
                  </a:lnTo>
                  <a:lnTo>
                    <a:pt x="225716" y="281437"/>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5" name="Freeform: Shape 81">
              <a:extLst>
                <a:ext uri="{FF2B5EF4-FFF2-40B4-BE49-F238E27FC236}">
                  <a16:creationId xmlns:a16="http://schemas.microsoft.com/office/drawing/2014/main" id="{A7E8E9AC-D8D1-25FF-DEBF-B24C74453539}"/>
                </a:ext>
              </a:extLst>
            </p:cNvPr>
            <p:cNvSpPr/>
            <p:nvPr/>
          </p:nvSpPr>
          <p:spPr>
            <a:xfrm>
              <a:off x="4722427" y="3262054"/>
              <a:ext cx="447675" cy="428625"/>
            </a:xfrm>
            <a:custGeom>
              <a:avLst/>
              <a:gdLst>
                <a:gd name="connsiteX0" fmla="*/ 269435 w 447675"/>
                <a:gd name="connsiteY0" fmla="*/ 5879 h 428625"/>
                <a:gd name="connsiteX1" fmla="*/ 5879 w 447675"/>
                <a:gd name="connsiteY1" fmla="*/ 270578 h 428625"/>
                <a:gd name="connsiteX2" fmla="*/ 225716 w 447675"/>
                <a:gd name="connsiteY2" fmla="*/ 428503 h 428625"/>
                <a:gd name="connsiteX3" fmla="*/ 446981 w 447675"/>
                <a:gd name="connsiteY3" fmla="*/ 132656 h 428625"/>
              </a:gdLst>
              <a:ahLst/>
              <a:cxnLst>
                <a:cxn ang="0">
                  <a:pos x="connsiteX0" y="connsiteY0"/>
                </a:cxn>
                <a:cxn ang="0">
                  <a:pos x="connsiteX1" y="connsiteY1"/>
                </a:cxn>
                <a:cxn ang="0">
                  <a:pos x="connsiteX2" y="connsiteY2"/>
                </a:cxn>
                <a:cxn ang="0">
                  <a:pos x="connsiteX3" y="connsiteY3"/>
                </a:cxn>
              </a:cxnLst>
              <a:rect l="l" t="t" r="r" b="b"/>
              <a:pathLst>
                <a:path w="447675" h="428625">
                  <a:moveTo>
                    <a:pt x="269435" y="5879"/>
                  </a:moveTo>
                  <a:lnTo>
                    <a:pt x="5879" y="270578"/>
                  </a:lnTo>
                  <a:lnTo>
                    <a:pt x="225716" y="428503"/>
                  </a:lnTo>
                  <a:lnTo>
                    <a:pt x="446981" y="132656"/>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6" name="Freeform: Shape 82">
              <a:extLst>
                <a:ext uri="{FF2B5EF4-FFF2-40B4-BE49-F238E27FC236}">
                  <a16:creationId xmlns:a16="http://schemas.microsoft.com/office/drawing/2014/main" id="{1E15B897-BDCF-3549-B6F0-A273BE5162C1}"/>
                </a:ext>
              </a:extLst>
            </p:cNvPr>
            <p:cNvSpPr/>
            <p:nvPr/>
          </p:nvSpPr>
          <p:spPr>
            <a:xfrm>
              <a:off x="5119989" y="3160506"/>
              <a:ext cx="200025" cy="257175"/>
            </a:xfrm>
            <a:custGeom>
              <a:avLst/>
              <a:gdLst>
                <a:gd name="connsiteX0" fmla="*/ 196580 w 200025"/>
                <a:gd name="connsiteY0" fmla="*/ 5509 h 257175"/>
                <a:gd name="connsiteX1" fmla="*/ 5509 w 200025"/>
                <a:gd name="connsiteY1" fmla="*/ 254492 h 257175"/>
              </a:gdLst>
              <a:ahLst/>
              <a:cxnLst>
                <a:cxn ang="0">
                  <a:pos x="connsiteX0" y="connsiteY0"/>
                </a:cxn>
                <a:cxn ang="0">
                  <a:pos x="connsiteX1" y="connsiteY1"/>
                </a:cxn>
              </a:cxnLst>
              <a:rect l="l" t="t" r="r" b="b"/>
              <a:pathLst>
                <a:path w="200025" h="257175">
                  <a:moveTo>
                    <a:pt x="196580" y="5509"/>
                  </a:moveTo>
                  <a:lnTo>
                    <a:pt x="5509" y="254492"/>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7" name="Freeform: Shape 83">
              <a:extLst>
                <a:ext uri="{FF2B5EF4-FFF2-40B4-BE49-F238E27FC236}">
                  <a16:creationId xmlns:a16="http://schemas.microsoft.com/office/drawing/2014/main" id="{4F539219-4C8B-D3F4-FCCA-BA97DA7914AA}"/>
                </a:ext>
              </a:extLst>
            </p:cNvPr>
            <p:cNvSpPr/>
            <p:nvPr/>
          </p:nvSpPr>
          <p:spPr>
            <a:xfrm>
              <a:off x="6863921" y="3160506"/>
              <a:ext cx="200025" cy="257175"/>
            </a:xfrm>
            <a:custGeom>
              <a:avLst/>
              <a:gdLst>
                <a:gd name="connsiteX0" fmla="*/ 5509 w 200025"/>
                <a:gd name="connsiteY0" fmla="*/ 5509 h 257175"/>
                <a:gd name="connsiteX1" fmla="*/ 203343 w 200025"/>
                <a:gd name="connsiteY1" fmla="*/ 254492 h 257175"/>
              </a:gdLst>
              <a:ahLst/>
              <a:cxnLst>
                <a:cxn ang="0">
                  <a:pos x="connsiteX0" y="connsiteY0"/>
                </a:cxn>
                <a:cxn ang="0">
                  <a:pos x="connsiteX1" y="connsiteY1"/>
                </a:cxn>
              </a:cxnLst>
              <a:rect l="l" t="t" r="r" b="b"/>
              <a:pathLst>
                <a:path w="200025" h="257175">
                  <a:moveTo>
                    <a:pt x="5509" y="5509"/>
                  </a:moveTo>
                  <a:lnTo>
                    <a:pt x="203343" y="254492"/>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8" name="Freeform: Shape 85">
              <a:extLst>
                <a:ext uri="{FF2B5EF4-FFF2-40B4-BE49-F238E27FC236}">
                  <a16:creationId xmlns:a16="http://schemas.microsoft.com/office/drawing/2014/main" id="{A19B07B4-5CF8-7552-32FB-0F0BF82F6994}"/>
                </a:ext>
              </a:extLst>
            </p:cNvPr>
            <p:cNvSpPr/>
            <p:nvPr/>
          </p:nvSpPr>
          <p:spPr>
            <a:xfrm>
              <a:off x="4986353" y="3160506"/>
              <a:ext cx="2209800" cy="238125"/>
            </a:xfrm>
            <a:custGeom>
              <a:avLst/>
              <a:gdLst>
                <a:gd name="connsiteX0" fmla="*/ 5509 w 2209800"/>
                <a:gd name="connsiteY0" fmla="*/ 107426 h 238125"/>
                <a:gd name="connsiteX1" fmla="*/ 330216 w 2209800"/>
                <a:gd name="connsiteY1" fmla="*/ 5509 h 238125"/>
                <a:gd name="connsiteX2" fmla="*/ 1883077 w 2209800"/>
                <a:gd name="connsiteY2" fmla="*/ 5509 h 238125"/>
                <a:gd name="connsiteX3" fmla="*/ 2207308 w 2209800"/>
                <a:gd name="connsiteY3" fmla="*/ 111712 h 238125"/>
                <a:gd name="connsiteX4" fmla="*/ 2029762 w 2209800"/>
                <a:gd name="connsiteY4" fmla="*/ 234204 h 238125"/>
                <a:gd name="connsiteX5" fmla="*/ 183055 w 2209800"/>
                <a:gd name="connsiteY5" fmla="*/ 23420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9800" h="238125">
                  <a:moveTo>
                    <a:pt x="5509" y="107426"/>
                  </a:moveTo>
                  <a:lnTo>
                    <a:pt x="330216" y="5509"/>
                  </a:lnTo>
                  <a:lnTo>
                    <a:pt x="1883077" y="5509"/>
                  </a:lnTo>
                  <a:lnTo>
                    <a:pt x="2207308" y="111712"/>
                  </a:lnTo>
                  <a:lnTo>
                    <a:pt x="2029762" y="234204"/>
                  </a:lnTo>
                  <a:lnTo>
                    <a:pt x="183055" y="234204"/>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9" name="Freeform: Shape 86">
              <a:extLst>
                <a:ext uri="{FF2B5EF4-FFF2-40B4-BE49-F238E27FC236}">
                  <a16:creationId xmlns:a16="http://schemas.microsoft.com/office/drawing/2014/main" id="{0FBB73D7-268A-3CA2-92E6-CD08F18949C7}"/>
                </a:ext>
              </a:extLst>
            </p:cNvPr>
            <p:cNvSpPr/>
            <p:nvPr/>
          </p:nvSpPr>
          <p:spPr>
            <a:xfrm>
              <a:off x="4942264" y="3388831"/>
              <a:ext cx="2295525" cy="304800"/>
            </a:xfrm>
            <a:custGeom>
              <a:avLst/>
              <a:gdLst>
                <a:gd name="connsiteX0" fmla="*/ 5879 w 2295525"/>
                <a:gd name="connsiteY0" fmla="*/ 301725 h 304800"/>
                <a:gd name="connsiteX1" fmla="*/ 2295498 w 2295525"/>
                <a:gd name="connsiteY1" fmla="*/ 301725 h 304800"/>
                <a:gd name="connsiteX2" fmla="*/ 2069089 w 2295525"/>
                <a:gd name="connsiteY2" fmla="*/ 5879 h 304800"/>
                <a:gd name="connsiteX3" fmla="*/ 227144 w 2295525"/>
                <a:gd name="connsiteY3" fmla="*/ 5879 h 304800"/>
              </a:gdLst>
              <a:ahLst/>
              <a:cxnLst>
                <a:cxn ang="0">
                  <a:pos x="connsiteX0" y="connsiteY0"/>
                </a:cxn>
                <a:cxn ang="0">
                  <a:pos x="connsiteX1" y="connsiteY1"/>
                </a:cxn>
                <a:cxn ang="0">
                  <a:pos x="connsiteX2" y="connsiteY2"/>
                </a:cxn>
                <a:cxn ang="0">
                  <a:pos x="connsiteX3" y="connsiteY3"/>
                </a:cxn>
              </a:cxnLst>
              <a:rect l="l" t="t" r="r" b="b"/>
              <a:pathLst>
                <a:path w="2295525" h="304800">
                  <a:moveTo>
                    <a:pt x="5879" y="301725"/>
                  </a:moveTo>
                  <a:lnTo>
                    <a:pt x="2295498" y="301725"/>
                  </a:lnTo>
                  <a:lnTo>
                    <a:pt x="2069089" y="5879"/>
                  </a:lnTo>
                  <a:lnTo>
                    <a:pt x="227144" y="5879"/>
                  </a:lnTo>
                  <a:close/>
                </a:path>
              </a:pathLst>
            </a:custGeom>
            <a:gradFill>
              <a:gsLst>
                <a:gs pos="0">
                  <a:schemeClr val="tx2">
                    <a:lumMod val="75000"/>
                    <a:alpha val="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60" name="Freeform: Shape 87">
              <a:extLst>
                <a:ext uri="{FF2B5EF4-FFF2-40B4-BE49-F238E27FC236}">
                  <a16:creationId xmlns:a16="http://schemas.microsoft.com/office/drawing/2014/main" id="{1E71A593-0249-6FBA-7B9C-0597ED186192}"/>
                </a:ext>
              </a:extLst>
            </p:cNvPr>
            <p:cNvSpPr/>
            <p:nvPr/>
          </p:nvSpPr>
          <p:spPr>
            <a:xfrm>
              <a:off x="7010236" y="3266340"/>
              <a:ext cx="457200" cy="428625"/>
            </a:xfrm>
            <a:custGeom>
              <a:avLst/>
              <a:gdLst>
                <a:gd name="connsiteX0" fmla="*/ 227525 w 457200"/>
                <a:gd name="connsiteY0" fmla="*/ 424217 h 428625"/>
                <a:gd name="connsiteX1" fmla="*/ 455078 w 457200"/>
                <a:gd name="connsiteY1" fmla="*/ 272007 h 428625"/>
                <a:gd name="connsiteX2" fmla="*/ 183424 w 457200"/>
                <a:gd name="connsiteY2" fmla="*/ 5879 h 428625"/>
                <a:gd name="connsiteX3" fmla="*/ 5879 w 457200"/>
                <a:gd name="connsiteY3" fmla="*/ 128370 h 428625"/>
              </a:gdLst>
              <a:ahLst/>
              <a:cxnLst>
                <a:cxn ang="0">
                  <a:pos x="connsiteX0" y="connsiteY0"/>
                </a:cxn>
                <a:cxn ang="0">
                  <a:pos x="connsiteX1" y="connsiteY1"/>
                </a:cxn>
                <a:cxn ang="0">
                  <a:pos x="connsiteX2" y="connsiteY2"/>
                </a:cxn>
                <a:cxn ang="0">
                  <a:pos x="connsiteX3" y="connsiteY3"/>
                </a:cxn>
              </a:cxnLst>
              <a:rect l="l" t="t" r="r" b="b"/>
              <a:pathLst>
                <a:path w="457200" h="428625">
                  <a:moveTo>
                    <a:pt x="227525" y="424217"/>
                  </a:moveTo>
                  <a:lnTo>
                    <a:pt x="455078" y="272007"/>
                  </a:lnTo>
                  <a:lnTo>
                    <a:pt x="183424" y="5879"/>
                  </a:lnTo>
                  <a:lnTo>
                    <a:pt x="5879" y="128370"/>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grpSp>
        <p:nvGrpSpPr>
          <p:cNvPr id="10" name="Group 9">
            <a:extLst>
              <a:ext uri="{FF2B5EF4-FFF2-40B4-BE49-F238E27FC236}">
                <a16:creationId xmlns:a16="http://schemas.microsoft.com/office/drawing/2014/main" id="{CB065E86-D50B-9C09-1C35-DC8BA335C474}"/>
              </a:ext>
            </a:extLst>
          </p:cNvPr>
          <p:cNvGrpSpPr/>
          <p:nvPr/>
        </p:nvGrpSpPr>
        <p:grpSpPr>
          <a:xfrm>
            <a:off x="3016686" y="5239051"/>
            <a:ext cx="5339018" cy="847789"/>
            <a:chOff x="12456098" y="5203261"/>
            <a:chExt cx="7756959" cy="807082"/>
          </a:xfrm>
        </p:grpSpPr>
        <p:sp>
          <p:nvSpPr>
            <p:cNvPr id="51" name="Freeform: Shape 89">
              <a:extLst>
                <a:ext uri="{FF2B5EF4-FFF2-40B4-BE49-F238E27FC236}">
                  <a16:creationId xmlns:a16="http://schemas.microsoft.com/office/drawing/2014/main" id="{C4ED0549-890C-8B9F-F270-FE0CFCF8A977}"/>
                </a:ext>
              </a:extLst>
            </p:cNvPr>
            <p:cNvSpPr/>
            <p:nvPr/>
          </p:nvSpPr>
          <p:spPr>
            <a:xfrm>
              <a:off x="13014554" y="5203261"/>
              <a:ext cx="582893" cy="739825"/>
            </a:xfrm>
            <a:custGeom>
              <a:avLst/>
              <a:gdLst>
                <a:gd name="connsiteX0" fmla="*/ 579537 w 582892"/>
                <a:gd name="connsiteY0" fmla="*/ 16597 h 739825"/>
                <a:gd name="connsiteX1" fmla="*/ 16597 w 582892"/>
                <a:gd name="connsiteY1" fmla="*/ 724364 h 739825"/>
              </a:gdLst>
              <a:ahLst/>
              <a:cxnLst>
                <a:cxn ang="0">
                  <a:pos x="connsiteX0" y="connsiteY0"/>
                </a:cxn>
                <a:cxn ang="0">
                  <a:pos x="connsiteX1" y="connsiteY1"/>
                </a:cxn>
              </a:cxnLst>
              <a:rect l="l" t="t" r="r" b="b"/>
              <a:pathLst>
                <a:path w="582892" h="739825">
                  <a:moveTo>
                    <a:pt x="579537" y="16597"/>
                  </a:moveTo>
                  <a:lnTo>
                    <a:pt x="16597" y="724364"/>
                  </a:lnTo>
                </a:path>
              </a:pathLst>
            </a:custGeom>
            <a:gradFill>
              <a:gsLst>
                <a:gs pos="0">
                  <a:schemeClr val="tx2">
                    <a:lumMod val="75000"/>
                    <a:alpha val="49000"/>
                  </a:schemeClr>
                </a:gs>
                <a:gs pos="100000">
                  <a:srgbClr val="0A0B10">
                    <a:alpha val="0"/>
                  </a:srgbClr>
                </a:gs>
              </a:gsLst>
              <a:lin ang="3600000" scaled="0"/>
            </a:gradFill>
            <a:ln w="6350">
              <a:solidFill>
                <a:srgbClr val="0088EE">
                  <a:alpha val="50000"/>
                </a:srgbClr>
              </a:soli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2" name="Freeform: Shape 90">
              <a:extLst>
                <a:ext uri="{FF2B5EF4-FFF2-40B4-BE49-F238E27FC236}">
                  <a16:creationId xmlns:a16="http://schemas.microsoft.com/office/drawing/2014/main" id="{67B150D6-09E9-480C-3181-2DF1AE900B28}"/>
                </a:ext>
              </a:extLst>
            </p:cNvPr>
            <p:cNvSpPr/>
            <p:nvPr/>
          </p:nvSpPr>
          <p:spPr>
            <a:xfrm>
              <a:off x="19059602" y="5203261"/>
              <a:ext cx="560474" cy="739825"/>
            </a:xfrm>
            <a:custGeom>
              <a:avLst/>
              <a:gdLst>
                <a:gd name="connsiteX0" fmla="*/ 16598 w 560473"/>
                <a:gd name="connsiteY0" fmla="*/ 16597 h 739825"/>
                <a:gd name="connsiteX1" fmla="*/ 546806 w 560473"/>
                <a:gd name="connsiteY1" fmla="*/ 724364 h 739825"/>
              </a:gdLst>
              <a:ahLst/>
              <a:cxnLst>
                <a:cxn ang="0">
                  <a:pos x="connsiteX0" y="connsiteY0"/>
                </a:cxn>
                <a:cxn ang="0">
                  <a:pos x="connsiteX1" y="connsiteY1"/>
                </a:cxn>
              </a:cxnLst>
              <a:rect l="l" t="t" r="r" b="b"/>
              <a:pathLst>
                <a:path w="560473" h="739825">
                  <a:moveTo>
                    <a:pt x="16598" y="16597"/>
                  </a:moveTo>
                  <a:lnTo>
                    <a:pt x="546806" y="724364"/>
                  </a:lnTo>
                </a:path>
              </a:pathLst>
            </a:custGeom>
            <a:gradFill>
              <a:gsLst>
                <a:gs pos="0">
                  <a:schemeClr val="tx2">
                    <a:lumMod val="75000"/>
                    <a:alpha val="49000"/>
                  </a:schemeClr>
                </a:gs>
                <a:gs pos="100000">
                  <a:srgbClr val="0A0B10">
                    <a:alpha val="0"/>
                  </a:srgbClr>
                </a:gs>
              </a:gsLst>
              <a:lin ang="3600000" scaled="0"/>
            </a:gradFill>
            <a:ln w="6350">
              <a:solidFill>
                <a:srgbClr val="0088EE">
                  <a:alpha val="50000"/>
                </a:srgbClr>
              </a:soli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3" name="Freeform: Shape 91">
              <a:extLst>
                <a:ext uri="{FF2B5EF4-FFF2-40B4-BE49-F238E27FC236}">
                  <a16:creationId xmlns:a16="http://schemas.microsoft.com/office/drawing/2014/main" id="{0C453195-F499-9EF9-72C5-003D698D1A42}"/>
                </a:ext>
              </a:extLst>
            </p:cNvPr>
            <p:cNvSpPr/>
            <p:nvPr/>
          </p:nvSpPr>
          <p:spPr>
            <a:xfrm>
              <a:off x="12456098" y="5203261"/>
              <a:ext cx="7756959" cy="807082"/>
            </a:xfrm>
            <a:custGeom>
              <a:avLst/>
              <a:gdLst>
                <a:gd name="connsiteX0" fmla="*/ 16597 w 7756959"/>
                <a:gd name="connsiteY0" fmla="*/ 348846 h 807082"/>
                <a:gd name="connsiteX1" fmla="*/ 1137994 w 7756959"/>
                <a:gd name="connsiteY1" fmla="*/ 16597 h 807082"/>
                <a:gd name="connsiteX2" fmla="*/ 6620101 w 7756959"/>
                <a:gd name="connsiteY2" fmla="*/ 16597 h 807082"/>
                <a:gd name="connsiteX3" fmla="*/ 7744188 w 7756959"/>
                <a:gd name="connsiteY3" fmla="*/ 364988 h 807082"/>
                <a:gd name="connsiteX4" fmla="*/ 7124528 w 7756959"/>
                <a:gd name="connsiteY4" fmla="*/ 794759 h 807082"/>
                <a:gd name="connsiteX5" fmla="*/ 637154 w 7756959"/>
                <a:gd name="connsiteY5" fmla="*/ 794759 h 80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56959" h="807082">
                  <a:moveTo>
                    <a:pt x="16597" y="348846"/>
                  </a:moveTo>
                  <a:lnTo>
                    <a:pt x="1137994" y="16597"/>
                  </a:lnTo>
                  <a:lnTo>
                    <a:pt x="6620101" y="16597"/>
                  </a:lnTo>
                  <a:lnTo>
                    <a:pt x="7744188" y="364988"/>
                  </a:lnTo>
                  <a:lnTo>
                    <a:pt x="7124528" y="794759"/>
                  </a:lnTo>
                  <a:lnTo>
                    <a:pt x="637154" y="794759"/>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grpSp>
        <p:nvGrpSpPr>
          <p:cNvPr id="11" name="Group 10">
            <a:extLst>
              <a:ext uri="{FF2B5EF4-FFF2-40B4-BE49-F238E27FC236}">
                <a16:creationId xmlns:a16="http://schemas.microsoft.com/office/drawing/2014/main" id="{21F77BD1-EAC5-8587-5DF2-E9F6DEF36541}"/>
              </a:ext>
            </a:extLst>
          </p:cNvPr>
          <p:cNvGrpSpPr/>
          <p:nvPr/>
        </p:nvGrpSpPr>
        <p:grpSpPr>
          <a:xfrm>
            <a:off x="3008462" y="4632370"/>
            <a:ext cx="5319889" cy="1445475"/>
            <a:chOff x="4455906" y="4532438"/>
            <a:chExt cx="3276600" cy="584443"/>
          </a:xfrm>
        </p:grpSpPr>
        <p:sp>
          <p:nvSpPr>
            <p:cNvPr id="44" name="Freeform: Shape 93">
              <a:extLst>
                <a:ext uri="{FF2B5EF4-FFF2-40B4-BE49-F238E27FC236}">
                  <a16:creationId xmlns:a16="http://schemas.microsoft.com/office/drawing/2014/main" id="{D02398A3-033F-864C-DDF2-0E3FADA7BE6F}"/>
                </a:ext>
              </a:extLst>
            </p:cNvPr>
            <p:cNvSpPr/>
            <p:nvPr/>
          </p:nvSpPr>
          <p:spPr>
            <a:xfrm>
              <a:off x="4455906" y="4783506"/>
              <a:ext cx="3276600" cy="333375"/>
            </a:xfrm>
            <a:custGeom>
              <a:avLst/>
              <a:gdLst>
                <a:gd name="connsiteX0" fmla="*/ 5509 w 3276600"/>
                <a:gd name="connsiteY0" fmla="*/ 138859 h 333375"/>
                <a:gd name="connsiteX1" fmla="*/ 474615 w 3276600"/>
                <a:gd name="connsiteY1" fmla="*/ 5509 h 333375"/>
                <a:gd name="connsiteX2" fmla="*/ 2803478 w 3276600"/>
                <a:gd name="connsiteY2" fmla="*/ 5509 h 333375"/>
                <a:gd name="connsiteX3" fmla="*/ 3274965 w 3276600"/>
                <a:gd name="connsiteY3" fmla="*/ 146002 h 333375"/>
                <a:gd name="connsiteX4" fmla="*/ 3013789 w 3276600"/>
                <a:gd name="connsiteY4" fmla="*/ 327930 h 333375"/>
                <a:gd name="connsiteX5" fmla="*/ 267446 w 3276600"/>
                <a:gd name="connsiteY5" fmla="*/ 32793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6600" h="333375">
                  <a:moveTo>
                    <a:pt x="5509" y="138859"/>
                  </a:moveTo>
                  <a:lnTo>
                    <a:pt x="474615" y="5509"/>
                  </a:lnTo>
                  <a:lnTo>
                    <a:pt x="2803478" y="5509"/>
                  </a:lnTo>
                  <a:lnTo>
                    <a:pt x="3274965" y="146002"/>
                  </a:lnTo>
                  <a:lnTo>
                    <a:pt x="3013789" y="327930"/>
                  </a:lnTo>
                  <a:lnTo>
                    <a:pt x="267446" y="327930"/>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5" name="Freeform: Shape 94">
              <a:extLst>
                <a:ext uri="{FF2B5EF4-FFF2-40B4-BE49-F238E27FC236}">
                  <a16:creationId xmlns:a16="http://schemas.microsoft.com/office/drawing/2014/main" id="{E9DBBB38-16F8-A1C3-F57B-30DD59DDEDE5}"/>
                </a:ext>
              </a:extLst>
            </p:cNvPr>
            <p:cNvSpPr/>
            <p:nvPr/>
          </p:nvSpPr>
          <p:spPr>
            <a:xfrm>
              <a:off x="4455906" y="4650441"/>
              <a:ext cx="495300" cy="457200"/>
            </a:xfrm>
            <a:custGeom>
              <a:avLst/>
              <a:gdLst>
                <a:gd name="connsiteX0" fmla="*/ 276781 w 495300"/>
                <a:gd name="connsiteY0" fmla="*/ 5509 h 457200"/>
                <a:gd name="connsiteX1" fmla="*/ 5509 w 495300"/>
                <a:gd name="connsiteY1" fmla="*/ 271923 h 457200"/>
                <a:gd name="connsiteX2" fmla="*/ 267446 w 495300"/>
                <a:gd name="connsiteY2" fmla="*/ 460994 h 457200"/>
                <a:gd name="connsiteX3" fmla="*/ 496618 w 495300"/>
                <a:gd name="connsiteY3" fmla="*/ 163528 h 457200"/>
              </a:gdLst>
              <a:ahLst/>
              <a:cxnLst>
                <a:cxn ang="0">
                  <a:pos x="connsiteX0" y="connsiteY0"/>
                </a:cxn>
                <a:cxn ang="0">
                  <a:pos x="connsiteX1" y="connsiteY1"/>
                </a:cxn>
                <a:cxn ang="0">
                  <a:pos x="connsiteX2" y="connsiteY2"/>
                </a:cxn>
                <a:cxn ang="0">
                  <a:pos x="connsiteX3" y="connsiteY3"/>
                </a:cxn>
              </a:cxnLst>
              <a:rect l="l" t="t" r="r" b="b"/>
              <a:pathLst>
                <a:path w="495300" h="457200">
                  <a:moveTo>
                    <a:pt x="276781" y="5509"/>
                  </a:moveTo>
                  <a:lnTo>
                    <a:pt x="5509" y="271923"/>
                  </a:lnTo>
                  <a:lnTo>
                    <a:pt x="267446" y="460994"/>
                  </a:lnTo>
                  <a:lnTo>
                    <a:pt x="496618" y="163528"/>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6" name="Freeform: Shape 95">
              <a:extLst>
                <a:ext uri="{FF2B5EF4-FFF2-40B4-BE49-F238E27FC236}">
                  <a16:creationId xmlns:a16="http://schemas.microsoft.com/office/drawing/2014/main" id="{BB4982D4-6B15-33DE-CAB8-3E236C07B752}"/>
                </a:ext>
              </a:extLst>
            </p:cNvPr>
            <p:cNvSpPr/>
            <p:nvPr/>
          </p:nvSpPr>
          <p:spPr>
            <a:xfrm>
              <a:off x="4924642" y="4532438"/>
              <a:ext cx="209550" cy="257175"/>
            </a:xfrm>
            <a:custGeom>
              <a:avLst/>
              <a:gdLst>
                <a:gd name="connsiteX0" fmla="*/ 205237 w 209550"/>
                <a:gd name="connsiteY0" fmla="*/ 5879 h 257175"/>
                <a:gd name="connsiteX1" fmla="*/ 5879 w 209550"/>
                <a:gd name="connsiteY1" fmla="*/ 256577 h 257175"/>
              </a:gdLst>
              <a:ahLst/>
              <a:cxnLst>
                <a:cxn ang="0">
                  <a:pos x="connsiteX0" y="connsiteY0"/>
                </a:cxn>
                <a:cxn ang="0">
                  <a:pos x="connsiteX1" y="connsiteY1"/>
                </a:cxn>
              </a:cxnLst>
              <a:rect l="l" t="t" r="r" b="b"/>
              <a:pathLst>
                <a:path w="209550" h="257175">
                  <a:moveTo>
                    <a:pt x="205237" y="5879"/>
                  </a:moveTo>
                  <a:lnTo>
                    <a:pt x="5879" y="256577"/>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7" name="Freeform: Shape 96">
              <a:extLst>
                <a:ext uri="{FF2B5EF4-FFF2-40B4-BE49-F238E27FC236}">
                  <a16:creationId xmlns:a16="http://schemas.microsoft.com/office/drawing/2014/main" id="{2AE2DF61-EA5E-665E-DD81-CD0F97BBC0FB}"/>
                </a:ext>
              </a:extLst>
            </p:cNvPr>
            <p:cNvSpPr/>
            <p:nvPr/>
          </p:nvSpPr>
          <p:spPr>
            <a:xfrm>
              <a:off x="7065672" y="4532438"/>
              <a:ext cx="190500" cy="257175"/>
            </a:xfrm>
            <a:custGeom>
              <a:avLst/>
              <a:gdLst>
                <a:gd name="connsiteX0" fmla="*/ 5879 w 190500"/>
                <a:gd name="connsiteY0" fmla="*/ 5879 h 257175"/>
                <a:gd name="connsiteX1" fmla="*/ 193712 w 190500"/>
                <a:gd name="connsiteY1" fmla="*/ 256577 h 257175"/>
              </a:gdLst>
              <a:ahLst/>
              <a:cxnLst>
                <a:cxn ang="0">
                  <a:pos x="connsiteX0" y="connsiteY0"/>
                </a:cxn>
                <a:cxn ang="0">
                  <a:pos x="connsiteX1" y="connsiteY1"/>
                </a:cxn>
              </a:cxnLst>
              <a:rect l="l" t="t" r="r" b="b"/>
              <a:pathLst>
                <a:path w="190500" h="257175">
                  <a:moveTo>
                    <a:pt x="5879" y="5879"/>
                  </a:moveTo>
                  <a:lnTo>
                    <a:pt x="193712" y="256577"/>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8" name="Freeform: Shape 97">
              <a:extLst>
                <a:ext uri="{FF2B5EF4-FFF2-40B4-BE49-F238E27FC236}">
                  <a16:creationId xmlns:a16="http://schemas.microsoft.com/office/drawing/2014/main" id="{2EC267AA-45F9-2D37-F4EE-2FDFDB6F92B8}"/>
                </a:ext>
              </a:extLst>
            </p:cNvPr>
            <p:cNvSpPr/>
            <p:nvPr/>
          </p:nvSpPr>
          <p:spPr>
            <a:xfrm>
              <a:off x="4726808" y="4532438"/>
              <a:ext cx="2743200" cy="285750"/>
            </a:xfrm>
            <a:custGeom>
              <a:avLst/>
              <a:gdLst>
                <a:gd name="connsiteX0" fmla="*/ 5879 w 2743200"/>
                <a:gd name="connsiteY0" fmla="*/ 123512 h 285750"/>
                <a:gd name="connsiteX1" fmla="*/ 403071 w 2743200"/>
                <a:gd name="connsiteY1" fmla="*/ 5879 h 285750"/>
                <a:gd name="connsiteX2" fmla="*/ 2344743 w 2743200"/>
                <a:gd name="connsiteY2" fmla="*/ 5879 h 285750"/>
                <a:gd name="connsiteX3" fmla="*/ 2742887 w 2743200"/>
                <a:gd name="connsiteY3" fmla="*/ 129227 h 285750"/>
                <a:gd name="connsiteX4" fmla="*/ 2523431 w 2743200"/>
                <a:gd name="connsiteY4" fmla="*/ 281532 h 285750"/>
                <a:gd name="connsiteX5" fmla="*/ 225716 w 2743200"/>
                <a:gd name="connsiteY5" fmla="*/ 281532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3200" h="285750">
                  <a:moveTo>
                    <a:pt x="5879" y="123512"/>
                  </a:moveTo>
                  <a:lnTo>
                    <a:pt x="403071" y="5879"/>
                  </a:lnTo>
                  <a:lnTo>
                    <a:pt x="2344743" y="5879"/>
                  </a:lnTo>
                  <a:lnTo>
                    <a:pt x="2742887" y="129227"/>
                  </a:lnTo>
                  <a:lnTo>
                    <a:pt x="2523431" y="281532"/>
                  </a:lnTo>
                  <a:lnTo>
                    <a:pt x="225716" y="281532"/>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9" name="Freeform: Shape 98">
              <a:extLst>
                <a:ext uri="{FF2B5EF4-FFF2-40B4-BE49-F238E27FC236}">
                  <a16:creationId xmlns:a16="http://schemas.microsoft.com/office/drawing/2014/main" id="{13DC46AF-3636-37E5-F406-2F7176BEF9BA}"/>
                </a:ext>
              </a:extLst>
            </p:cNvPr>
            <p:cNvSpPr/>
            <p:nvPr/>
          </p:nvSpPr>
          <p:spPr>
            <a:xfrm>
              <a:off x="4717844" y="4808461"/>
              <a:ext cx="2752725" cy="304800"/>
            </a:xfrm>
            <a:custGeom>
              <a:avLst/>
              <a:gdLst>
                <a:gd name="connsiteX0" fmla="*/ 234680 w 2752725"/>
                <a:gd name="connsiteY0" fmla="*/ 5509 h 304800"/>
                <a:gd name="connsiteX1" fmla="*/ 2524204 w 2752725"/>
                <a:gd name="connsiteY1" fmla="*/ 5509 h 304800"/>
                <a:gd name="connsiteX2" fmla="*/ 2751852 w 2752725"/>
                <a:gd name="connsiteY2" fmla="*/ 302974 h 304800"/>
                <a:gd name="connsiteX3" fmla="*/ 5509 w 2752725"/>
                <a:gd name="connsiteY3" fmla="*/ 302974 h 304800"/>
              </a:gdLst>
              <a:ahLst/>
              <a:cxnLst>
                <a:cxn ang="0">
                  <a:pos x="connsiteX0" y="connsiteY0"/>
                </a:cxn>
                <a:cxn ang="0">
                  <a:pos x="connsiteX1" y="connsiteY1"/>
                </a:cxn>
                <a:cxn ang="0">
                  <a:pos x="connsiteX2" y="connsiteY2"/>
                </a:cxn>
                <a:cxn ang="0">
                  <a:pos x="connsiteX3" y="connsiteY3"/>
                </a:cxn>
              </a:cxnLst>
              <a:rect l="l" t="t" r="r" b="b"/>
              <a:pathLst>
                <a:path w="2752725" h="304800">
                  <a:moveTo>
                    <a:pt x="234680" y="5509"/>
                  </a:moveTo>
                  <a:lnTo>
                    <a:pt x="2524204" y="5509"/>
                  </a:lnTo>
                  <a:lnTo>
                    <a:pt x="2751852" y="302974"/>
                  </a:lnTo>
                  <a:lnTo>
                    <a:pt x="5509" y="302974"/>
                  </a:lnTo>
                  <a:close/>
                </a:path>
              </a:pathLst>
            </a:custGeom>
            <a:gradFill>
              <a:gsLst>
                <a:gs pos="0">
                  <a:schemeClr val="tx2">
                    <a:lumMod val="75000"/>
                    <a:alpha val="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0" name="Freeform: Shape 99">
              <a:extLst>
                <a:ext uri="{FF2B5EF4-FFF2-40B4-BE49-F238E27FC236}">
                  <a16:creationId xmlns:a16="http://schemas.microsoft.com/office/drawing/2014/main" id="{C713E559-7990-E83C-FA1B-89B1E328E18E}"/>
                </a:ext>
              </a:extLst>
            </p:cNvPr>
            <p:cNvSpPr/>
            <p:nvPr/>
          </p:nvSpPr>
          <p:spPr>
            <a:xfrm>
              <a:off x="7236540" y="4656156"/>
              <a:ext cx="495300" cy="457200"/>
            </a:xfrm>
            <a:custGeom>
              <a:avLst/>
              <a:gdLst>
                <a:gd name="connsiteX0" fmla="*/ 5509 w 495300"/>
                <a:gd name="connsiteY0" fmla="*/ 157813 h 457200"/>
                <a:gd name="connsiteX1" fmla="*/ 233156 w 495300"/>
                <a:gd name="connsiteY1" fmla="*/ 455279 h 457200"/>
                <a:gd name="connsiteX2" fmla="*/ 494332 w 495300"/>
                <a:gd name="connsiteY2" fmla="*/ 273352 h 457200"/>
                <a:gd name="connsiteX3" fmla="*/ 233156 w 495300"/>
                <a:gd name="connsiteY3" fmla="*/ 5509 h 457200"/>
              </a:gdLst>
              <a:ahLst/>
              <a:cxnLst>
                <a:cxn ang="0">
                  <a:pos x="connsiteX0" y="connsiteY0"/>
                </a:cxn>
                <a:cxn ang="0">
                  <a:pos x="connsiteX1" y="connsiteY1"/>
                </a:cxn>
                <a:cxn ang="0">
                  <a:pos x="connsiteX2" y="connsiteY2"/>
                </a:cxn>
                <a:cxn ang="0">
                  <a:pos x="connsiteX3" y="connsiteY3"/>
                </a:cxn>
              </a:cxnLst>
              <a:rect l="l" t="t" r="r" b="b"/>
              <a:pathLst>
                <a:path w="495300" h="457200">
                  <a:moveTo>
                    <a:pt x="5509" y="157813"/>
                  </a:moveTo>
                  <a:lnTo>
                    <a:pt x="233156" y="455279"/>
                  </a:lnTo>
                  <a:lnTo>
                    <a:pt x="494332" y="273352"/>
                  </a:lnTo>
                  <a:lnTo>
                    <a:pt x="233156" y="5509"/>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pic>
        <p:nvPicPr>
          <p:cNvPr id="13" name="Picture 12">
            <a:extLst>
              <a:ext uri="{FF2B5EF4-FFF2-40B4-BE49-F238E27FC236}">
                <a16:creationId xmlns:a16="http://schemas.microsoft.com/office/drawing/2014/main" id="{BCADEEC7-5203-3113-FEAF-A1A721A3AED7}"/>
              </a:ext>
            </a:extLst>
          </p:cNvPr>
          <p:cNvPicPr>
            <a:picLocks noChangeAspect="1"/>
          </p:cNvPicPr>
          <p:nvPr/>
        </p:nvPicPr>
        <p:blipFill rotWithShape="1">
          <a:blip r:embed="rId2">
            <a:biLevel thresh="25000"/>
          </a:blip>
          <a:srcRect t="27733" b="10926"/>
          <a:stretch/>
        </p:blipFill>
        <p:spPr>
          <a:xfrm>
            <a:off x="4978196" y="4841230"/>
            <a:ext cx="1573334" cy="286952"/>
          </a:xfrm>
          <a:prstGeom prst="rect">
            <a:avLst/>
          </a:prstGeom>
        </p:spPr>
      </p:pic>
      <p:grpSp>
        <p:nvGrpSpPr>
          <p:cNvPr id="14" name="Group 13">
            <a:extLst>
              <a:ext uri="{FF2B5EF4-FFF2-40B4-BE49-F238E27FC236}">
                <a16:creationId xmlns:a16="http://schemas.microsoft.com/office/drawing/2014/main" id="{7D3F80CB-CD57-ED81-3D72-9CC09DF054CB}"/>
              </a:ext>
            </a:extLst>
          </p:cNvPr>
          <p:cNvGrpSpPr/>
          <p:nvPr/>
        </p:nvGrpSpPr>
        <p:grpSpPr>
          <a:xfrm>
            <a:off x="3874190" y="3415123"/>
            <a:ext cx="3588436" cy="1186131"/>
            <a:chOff x="4987906" y="2434170"/>
            <a:chExt cx="2210170" cy="479583"/>
          </a:xfrm>
        </p:grpSpPr>
        <p:sp>
          <p:nvSpPr>
            <p:cNvPr id="37" name="Freeform: Shape 103">
              <a:extLst>
                <a:ext uri="{FF2B5EF4-FFF2-40B4-BE49-F238E27FC236}">
                  <a16:creationId xmlns:a16="http://schemas.microsoft.com/office/drawing/2014/main" id="{05C8F37D-715A-9EEB-1C2B-6E99130A629B}"/>
                </a:ext>
              </a:extLst>
            </p:cNvPr>
            <p:cNvSpPr/>
            <p:nvPr/>
          </p:nvSpPr>
          <p:spPr>
            <a:xfrm>
              <a:off x="4988276" y="2674951"/>
              <a:ext cx="2209800" cy="238125"/>
            </a:xfrm>
            <a:custGeom>
              <a:avLst/>
              <a:gdLst>
                <a:gd name="connsiteX0" fmla="*/ 5509 w 2209800"/>
                <a:gd name="connsiteY0" fmla="*/ 107426 h 238125"/>
                <a:gd name="connsiteX1" fmla="*/ 330216 w 2209800"/>
                <a:gd name="connsiteY1" fmla="*/ 5509 h 238125"/>
                <a:gd name="connsiteX2" fmla="*/ 1883077 w 2209800"/>
                <a:gd name="connsiteY2" fmla="*/ 5509 h 238125"/>
                <a:gd name="connsiteX3" fmla="*/ 2207308 w 2209800"/>
                <a:gd name="connsiteY3" fmla="*/ 111712 h 238125"/>
                <a:gd name="connsiteX4" fmla="*/ 2029762 w 2209800"/>
                <a:gd name="connsiteY4" fmla="*/ 234299 h 238125"/>
                <a:gd name="connsiteX5" fmla="*/ 182959 w 2209800"/>
                <a:gd name="connsiteY5" fmla="*/ 23429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9800" h="238125">
                  <a:moveTo>
                    <a:pt x="5509" y="107426"/>
                  </a:moveTo>
                  <a:lnTo>
                    <a:pt x="330216" y="5509"/>
                  </a:lnTo>
                  <a:lnTo>
                    <a:pt x="1883077" y="5509"/>
                  </a:lnTo>
                  <a:lnTo>
                    <a:pt x="2207308" y="111712"/>
                  </a:lnTo>
                  <a:lnTo>
                    <a:pt x="2029762" y="234299"/>
                  </a:lnTo>
                  <a:lnTo>
                    <a:pt x="182959" y="234299"/>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8" name="Freeform: Shape 104">
              <a:extLst>
                <a:ext uri="{FF2B5EF4-FFF2-40B4-BE49-F238E27FC236}">
                  <a16:creationId xmlns:a16="http://schemas.microsoft.com/office/drawing/2014/main" id="{91C0C59A-3737-06EF-D25D-3597F477F2C0}"/>
                </a:ext>
              </a:extLst>
            </p:cNvPr>
            <p:cNvSpPr/>
            <p:nvPr/>
          </p:nvSpPr>
          <p:spPr>
            <a:xfrm>
              <a:off x="4987906" y="2520371"/>
              <a:ext cx="400050" cy="390525"/>
            </a:xfrm>
            <a:custGeom>
              <a:avLst/>
              <a:gdLst>
                <a:gd name="connsiteX0" fmla="*/ 267435 w 400050"/>
                <a:gd name="connsiteY0" fmla="*/ 5879 h 390525"/>
                <a:gd name="connsiteX1" fmla="*/ 5879 w 400050"/>
                <a:gd name="connsiteY1" fmla="*/ 262006 h 390525"/>
                <a:gd name="connsiteX2" fmla="*/ 183329 w 400050"/>
                <a:gd name="connsiteY2" fmla="*/ 388879 h 390525"/>
                <a:gd name="connsiteX3" fmla="*/ 403643 w 400050"/>
                <a:gd name="connsiteY3" fmla="*/ 101605 h 390525"/>
              </a:gdLst>
              <a:ahLst/>
              <a:cxnLst>
                <a:cxn ang="0">
                  <a:pos x="connsiteX0" y="connsiteY0"/>
                </a:cxn>
                <a:cxn ang="0">
                  <a:pos x="connsiteX1" y="connsiteY1"/>
                </a:cxn>
                <a:cxn ang="0">
                  <a:pos x="connsiteX2" y="connsiteY2"/>
                </a:cxn>
                <a:cxn ang="0">
                  <a:pos x="connsiteX3" y="connsiteY3"/>
                </a:cxn>
              </a:cxnLst>
              <a:rect l="l" t="t" r="r" b="b"/>
              <a:pathLst>
                <a:path w="400050" h="390525">
                  <a:moveTo>
                    <a:pt x="267435" y="5879"/>
                  </a:moveTo>
                  <a:lnTo>
                    <a:pt x="5879" y="262006"/>
                  </a:lnTo>
                  <a:lnTo>
                    <a:pt x="183329" y="388879"/>
                  </a:lnTo>
                  <a:lnTo>
                    <a:pt x="403643" y="101605"/>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9" name="Freeform: Shape 105">
              <a:extLst>
                <a:ext uri="{FF2B5EF4-FFF2-40B4-BE49-F238E27FC236}">
                  <a16:creationId xmlns:a16="http://schemas.microsoft.com/office/drawing/2014/main" id="{FFF8D578-B68D-B78D-60EF-9852A3AC39F0}"/>
                </a:ext>
              </a:extLst>
            </p:cNvPr>
            <p:cNvSpPr/>
            <p:nvPr/>
          </p:nvSpPr>
          <p:spPr>
            <a:xfrm>
              <a:off x="5312613" y="2434170"/>
              <a:ext cx="200025" cy="247650"/>
            </a:xfrm>
            <a:custGeom>
              <a:avLst/>
              <a:gdLst>
                <a:gd name="connsiteX0" fmla="*/ 195617 w 200025"/>
                <a:gd name="connsiteY0" fmla="*/ 5879 h 247650"/>
                <a:gd name="connsiteX1" fmla="*/ 5879 w 200025"/>
                <a:gd name="connsiteY1" fmla="*/ 246290 h 247650"/>
              </a:gdLst>
              <a:ahLst/>
              <a:cxnLst>
                <a:cxn ang="0">
                  <a:pos x="connsiteX0" y="connsiteY0"/>
                </a:cxn>
                <a:cxn ang="0">
                  <a:pos x="connsiteX1" y="connsiteY1"/>
                </a:cxn>
              </a:cxnLst>
              <a:rect l="l" t="t" r="r" b="b"/>
              <a:pathLst>
                <a:path w="200025" h="247650">
                  <a:moveTo>
                    <a:pt x="195617" y="5879"/>
                  </a:moveTo>
                  <a:lnTo>
                    <a:pt x="5879" y="246290"/>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0" name="Freeform: Shape 106">
              <a:extLst>
                <a:ext uri="{FF2B5EF4-FFF2-40B4-BE49-F238E27FC236}">
                  <a16:creationId xmlns:a16="http://schemas.microsoft.com/office/drawing/2014/main" id="{2CE8A073-8272-DCBB-8264-689EE2EA3FB5}"/>
                </a:ext>
              </a:extLst>
            </p:cNvPr>
            <p:cNvSpPr/>
            <p:nvPr/>
          </p:nvSpPr>
          <p:spPr>
            <a:xfrm>
              <a:off x="6671449" y="2434170"/>
              <a:ext cx="200025" cy="247650"/>
            </a:xfrm>
            <a:custGeom>
              <a:avLst/>
              <a:gdLst>
                <a:gd name="connsiteX0" fmla="*/ 5879 w 200025"/>
                <a:gd name="connsiteY0" fmla="*/ 5879 h 247650"/>
                <a:gd name="connsiteX1" fmla="*/ 199903 w 200025"/>
                <a:gd name="connsiteY1" fmla="*/ 246290 h 247650"/>
              </a:gdLst>
              <a:ahLst/>
              <a:cxnLst>
                <a:cxn ang="0">
                  <a:pos x="connsiteX0" y="connsiteY0"/>
                </a:cxn>
                <a:cxn ang="0">
                  <a:pos x="connsiteX1" y="connsiteY1"/>
                </a:cxn>
              </a:cxnLst>
              <a:rect l="l" t="t" r="r" b="b"/>
              <a:pathLst>
                <a:path w="200025" h="247650">
                  <a:moveTo>
                    <a:pt x="5879" y="5879"/>
                  </a:moveTo>
                  <a:lnTo>
                    <a:pt x="199903" y="246290"/>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1" name="Freeform: Shape 107">
              <a:extLst>
                <a:ext uri="{FF2B5EF4-FFF2-40B4-BE49-F238E27FC236}">
                  <a16:creationId xmlns:a16="http://schemas.microsoft.com/office/drawing/2014/main" id="{1FDE9CA7-DB89-00EB-EDE3-A150BA281166}"/>
                </a:ext>
              </a:extLst>
            </p:cNvPr>
            <p:cNvSpPr/>
            <p:nvPr/>
          </p:nvSpPr>
          <p:spPr>
            <a:xfrm>
              <a:off x="5250214" y="2434922"/>
              <a:ext cx="1676400" cy="190500"/>
            </a:xfrm>
            <a:custGeom>
              <a:avLst/>
              <a:gdLst>
                <a:gd name="connsiteX0" fmla="*/ 5126 w 1676400"/>
                <a:gd name="connsiteY0" fmla="*/ 91328 h 190500"/>
                <a:gd name="connsiteX1" fmla="*/ 258015 w 1676400"/>
                <a:gd name="connsiteY1" fmla="*/ 5126 h 190500"/>
                <a:gd name="connsiteX2" fmla="*/ 1427114 w 1676400"/>
                <a:gd name="connsiteY2" fmla="*/ 5126 h 190500"/>
                <a:gd name="connsiteX3" fmla="*/ 1678097 w 1676400"/>
                <a:gd name="connsiteY3" fmla="*/ 94185 h 190500"/>
                <a:gd name="connsiteX4" fmla="*/ 1542080 w 1676400"/>
                <a:gd name="connsiteY4" fmla="*/ 187054 h 190500"/>
                <a:gd name="connsiteX5" fmla="*/ 140667 w 1676400"/>
                <a:gd name="connsiteY5" fmla="*/ 1870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400" h="190500">
                  <a:moveTo>
                    <a:pt x="5126" y="91328"/>
                  </a:moveTo>
                  <a:lnTo>
                    <a:pt x="258015" y="5126"/>
                  </a:lnTo>
                  <a:lnTo>
                    <a:pt x="1427114" y="5126"/>
                  </a:lnTo>
                  <a:lnTo>
                    <a:pt x="1678097" y="94185"/>
                  </a:lnTo>
                  <a:lnTo>
                    <a:pt x="1542080" y="187054"/>
                  </a:lnTo>
                  <a:lnTo>
                    <a:pt x="140667" y="187054"/>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2" name="Freeform: Shape 108">
              <a:extLst>
                <a:ext uri="{FF2B5EF4-FFF2-40B4-BE49-F238E27FC236}">
                  <a16:creationId xmlns:a16="http://schemas.microsoft.com/office/drawing/2014/main" id="{F5CB399B-7DCD-F2EA-AD7D-A8C5CE9C5E26}"/>
                </a:ext>
              </a:extLst>
            </p:cNvPr>
            <p:cNvSpPr/>
            <p:nvPr/>
          </p:nvSpPr>
          <p:spPr>
            <a:xfrm>
              <a:off x="5165356" y="2616098"/>
              <a:ext cx="1857375" cy="295275"/>
            </a:xfrm>
            <a:custGeom>
              <a:avLst/>
              <a:gdLst>
                <a:gd name="connsiteX0" fmla="*/ 5879 w 1857375"/>
                <a:gd name="connsiteY0" fmla="*/ 293153 h 295275"/>
                <a:gd name="connsiteX1" fmla="*/ 1852681 w 1857375"/>
                <a:gd name="connsiteY1" fmla="*/ 293153 h 295275"/>
                <a:gd name="connsiteX2" fmla="*/ 1626938 w 1857375"/>
                <a:gd name="connsiteY2" fmla="*/ 5879 h 295275"/>
                <a:gd name="connsiteX3" fmla="*/ 226192 w 1857375"/>
                <a:gd name="connsiteY3" fmla="*/ 5879 h 295275"/>
              </a:gdLst>
              <a:ahLst/>
              <a:cxnLst>
                <a:cxn ang="0">
                  <a:pos x="connsiteX0" y="connsiteY0"/>
                </a:cxn>
                <a:cxn ang="0">
                  <a:pos x="connsiteX1" y="connsiteY1"/>
                </a:cxn>
                <a:cxn ang="0">
                  <a:pos x="connsiteX2" y="connsiteY2"/>
                </a:cxn>
                <a:cxn ang="0">
                  <a:pos x="connsiteX3" y="connsiteY3"/>
                </a:cxn>
              </a:cxnLst>
              <a:rect l="l" t="t" r="r" b="b"/>
              <a:pathLst>
                <a:path w="1857375" h="295275">
                  <a:moveTo>
                    <a:pt x="5879" y="293153"/>
                  </a:moveTo>
                  <a:lnTo>
                    <a:pt x="1852681" y="293153"/>
                  </a:lnTo>
                  <a:lnTo>
                    <a:pt x="1626938" y="5879"/>
                  </a:lnTo>
                  <a:lnTo>
                    <a:pt x="226192" y="5879"/>
                  </a:lnTo>
                  <a:close/>
                </a:path>
              </a:pathLst>
            </a:custGeom>
            <a:gradFill>
              <a:gsLst>
                <a:gs pos="0">
                  <a:schemeClr val="tx2">
                    <a:lumMod val="75000"/>
                    <a:alpha val="2900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3" name="Freeform: Shape 109">
              <a:extLst>
                <a:ext uri="{FF2B5EF4-FFF2-40B4-BE49-F238E27FC236}">
                  <a16:creationId xmlns:a16="http://schemas.microsoft.com/office/drawing/2014/main" id="{C188ACD8-802B-08EE-6AC0-B15B732E5D83}"/>
                </a:ext>
              </a:extLst>
            </p:cNvPr>
            <p:cNvSpPr/>
            <p:nvPr/>
          </p:nvSpPr>
          <p:spPr>
            <a:xfrm>
              <a:off x="6786416" y="2523228"/>
              <a:ext cx="409575" cy="390525"/>
            </a:xfrm>
            <a:custGeom>
              <a:avLst/>
              <a:gdLst>
                <a:gd name="connsiteX0" fmla="*/ 141896 w 409575"/>
                <a:gd name="connsiteY0" fmla="*/ 5879 h 390525"/>
                <a:gd name="connsiteX1" fmla="*/ 409167 w 409575"/>
                <a:gd name="connsiteY1" fmla="*/ 263435 h 390525"/>
                <a:gd name="connsiteX2" fmla="*/ 231621 w 409575"/>
                <a:gd name="connsiteY2" fmla="*/ 386021 h 390525"/>
                <a:gd name="connsiteX3" fmla="*/ 5879 w 409575"/>
                <a:gd name="connsiteY3" fmla="*/ 98747 h 390525"/>
              </a:gdLst>
              <a:ahLst/>
              <a:cxnLst>
                <a:cxn ang="0">
                  <a:pos x="connsiteX0" y="connsiteY0"/>
                </a:cxn>
                <a:cxn ang="0">
                  <a:pos x="connsiteX1" y="connsiteY1"/>
                </a:cxn>
                <a:cxn ang="0">
                  <a:pos x="connsiteX2" y="connsiteY2"/>
                </a:cxn>
                <a:cxn ang="0">
                  <a:pos x="connsiteX3" y="connsiteY3"/>
                </a:cxn>
              </a:cxnLst>
              <a:rect l="l" t="t" r="r" b="b"/>
              <a:pathLst>
                <a:path w="409575" h="390525">
                  <a:moveTo>
                    <a:pt x="141896" y="5879"/>
                  </a:moveTo>
                  <a:lnTo>
                    <a:pt x="409167" y="263435"/>
                  </a:lnTo>
                  <a:lnTo>
                    <a:pt x="231621" y="386021"/>
                  </a:lnTo>
                  <a:lnTo>
                    <a:pt x="5879" y="98747"/>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pic>
        <p:nvPicPr>
          <p:cNvPr id="15" name="Picture 14">
            <a:extLst>
              <a:ext uri="{FF2B5EF4-FFF2-40B4-BE49-F238E27FC236}">
                <a16:creationId xmlns:a16="http://schemas.microsoft.com/office/drawing/2014/main" id="{CBBF9ACD-4DF5-9CD6-81FF-512EF59B1CFA}"/>
              </a:ext>
            </a:extLst>
          </p:cNvPr>
          <p:cNvPicPr>
            <a:picLocks noChangeAspect="1"/>
          </p:cNvPicPr>
          <p:nvPr/>
        </p:nvPicPr>
        <p:blipFill>
          <a:blip r:embed="rId3">
            <a:biLevel thresh="25000"/>
          </a:blip>
          <a:stretch>
            <a:fillRect/>
          </a:stretch>
        </p:blipFill>
        <p:spPr>
          <a:xfrm>
            <a:off x="4998576" y="4150451"/>
            <a:ext cx="1351522" cy="320135"/>
          </a:xfrm>
          <a:prstGeom prst="rect">
            <a:avLst/>
          </a:prstGeom>
        </p:spPr>
      </p:pic>
      <p:grpSp>
        <p:nvGrpSpPr>
          <p:cNvPr id="16" name="Group 15">
            <a:extLst>
              <a:ext uri="{FF2B5EF4-FFF2-40B4-BE49-F238E27FC236}">
                <a16:creationId xmlns:a16="http://schemas.microsoft.com/office/drawing/2014/main" id="{5C9E667A-FDDE-7BEB-21C5-6F9D386E8E44}"/>
              </a:ext>
            </a:extLst>
          </p:cNvPr>
          <p:cNvGrpSpPr/>
          <p:nvPr/>
        </p:nvGrpSpPr>
        <p:grpSpPr>
          <a:xfrm>
            <a:off x="4305263" y="2831473"/>
            <a:ext cx="2726288" cy="1053005"/>
            <a:chOff x="5255827" y="3212714"/>
            <a:chExt cx="1679162" cy="425757"/>
          </a:xfrm>
        </p:grpSpPr>
        <p:sp>
          <p:nvSpPr>
            <p:cNvPr id="30" name="Freeform: Shape 112">
              <a:extLst>
                <a:ext uri="{FF2B5EF4-FFF2-40B4-BE49-F238E27FC236}">
                  <a16:creationId xmlns:a16="http://schemas.microsoft.com/office/drawing/2014/main" id="{C1DD7FC5-FAEA-D3E8-4FEE-0E86956610AE}"/>
                </a:ext>
              </a:extLst>
            </p:cNvPr>
            <p:cNvSpPr/>
            <p:nvPr/>
          </p:nvSpPr>
          <p:spPr>
            <a:xfrm>
              <a:off x="5256579" y="3447971"/>
              <a:ext cx="1676400" cy="190500"/>
            </a:xfrm>
            <a:custGeom>
              <a:avLst/>
              <a:gdLst>
                <a:gd name="connsiteX0" fmla="*/ 5126 w 1676400"/>
                <a:gd name="connsiteY0" fmla="*/ 91328 h 190500"/>
                <a:gd name="connsiteX1" fmla="*/ 258015 w 1676400"/>
                <a:gd name="connsiteY1" fmla="*/ 5126 h 190500"/>
                <a:gd name="connsiteX2" fmla="*/ 1427114 w 1676400"/>
                <a:gd name="connsiteY2" fmla="*/ 5126 h 190500"/>
                <a:gd name="connsiteX3" fmla="*/ 1678193 w 1676400"/>
                <a:gd name="connsiteY3" fmla="*/ 94185 h 190500"/>
                <a:gd name="connsiteX4" fmla="*/ 1542080 w 1676400"/>
                <a:gd name="connsiteY4" fmla="*/ 187054 h 190500"/>
                <a:gd name="connsiteX5" fmla="*/ 140762 w 1676400"/>
                <a:gd name="connsiteY5" fmla="*/ 1870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400" h="190500">
                  <a:moveTo>
                    <a:pt x="5126" y="91328"/>
                  </a:moveTo>
                  <a:lnTo>
                    <a:pt x="258015" y="5126"/>
                  </a:lnTo>
                  <a:lnTo>
                    <a:pt x="1427114" y="5126"/>
                  </a:lnTo>
                  <a:lnTo>
                    <a:pt x="1678193" y="94185"/>
                  </a:lnTo>
                  <a:lnTo>
                    <a:pt x="1542080" y="187054"/>
                  </a:lnTo>
                  <a:lnTo>
                    <a:pt x="140762" y="187054"/>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1" name="Freeform: Shape 113">
              <a:extLst>
                <a:ext uri="{FF2B5EF4-FFF2-40B4-BE49-F238E27FC236}">
                  <a16:creationId xmlns:a16="http://schemas.microsoft.com/office/drawing/2014/main" id="{E67C02B4-63B5-D344-7048-959B6CD7C266}"/>
                </a:ext>
              </a:extLst>
            </p:cNvPr>
            <p:cNvSpPr/>
            <p:nvPr/>
          </p:nvSpPr>
          <p:spPr>
            <a:xfrm>
              <a:off x="5255827" y="3283294"/>
              <a:ext cx="361950" cy="352425"/>
            </a:xfrm>
            <a:custGeom>
              <a:avLst/>
              <a:gdLst>
                <a:gd name="connsiteX0" fmla="*/ 268388 w 361950"/>
                <a:gd name="connsiteY0" fmla="*/ 5879 h 352425"/>
                <a:gd name="connsiteX1" fmla="*/ 5879 w 361950"/>
                <a:gd name="connsiteY1" fmla="*/ 256005 h 352425"/>
                <a:gd name="connsiteX2" fmla="*/ 141515 w 361950"/>
                <a:gd name="connsiteY2" fmla="*/ 351731 h 352425"/>
                <a:gd name="connsiteX3" fmla="*/ 363352 w 361950"/>
                <a:gd name="connsiteY3" fmla="*/ 70363 h 352425"/>
              </a:gdLst>
              <a:ahLst/>
              <a:cxnLst>
                <a:cxn ang="0">
                  <a:pos x="connsiteX0" y="connsiteY0"/>
                </a:cxn>
                <a:cxn ang="0">
                  <a:pos x="connsiteX1" y="connsiteY1"/>
                </a:cxn>
                <a:cxn ang="0">
                  <a:pos x="connsiteX2" y="connsiteY2"/>
                </a:cxn>
                <a:cxn ang="0">
                  <a:pos x="connsiteX3" y="connsiteY3"/>
                </a:cxn>
              </a:cxnLst>
              <a:rect l="l" t="t" r="r" b="b"/>
              <a:pathLst>
                <a:path w="361950" h="352425">
                  <a:moveTo>
                    <a:pt x="268388" y="5879"/>
                  </a:moveTo>
                  <a:lnTo>
                    <a:pt x="5879" y="256005"/>
                  </a:lnTo>
                  <a:lnTo>
                    <a:pt x="141515" y="351731"/>
                  </a:lnTo>
                  <a:lnTo>
                    <a:pt x="363352" y="70363"/>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2" name="Freeform: Shape 114">
              <a:extLst>
                <a:ext uri="{FF2B5EF4-FFF2-40B4-BE49-F238E27FC236}">
                  <a16:creationId xmlns:a16="http://schemas.microsoft.com/office/drawing/2014/main" id="{8AFD748B-88FD-87B6-5EA7-06DCBB8ED259}"/>
                </a:ext>
              </a:extLst>
            </p:cNvPr>
            <p:cNvSpPr/>
            <p:nvPr/>
          </p:nvSpPr>
          <p:spPr>
            <a:xfrm>
              <a:off x="5508715" y="3212714"/>
              <a:ext cx="200025" cy="238125"/>
            </a:xfrm>
            <a:custGeom>
              <a:avLst/>
              <a:gdLst>
                <a:gd name="connsiteX0" fmla="*/ 198474 w 200025"/>
                <a:gd name="connsiteY0" fmla="*/ 5879 h 238125"/>
                <a:gd name="connsiteX1" fmla="*/ 5879 w 200025"/>
                <a:gd name="connsiteY1" fmla="*/ 240384 h 238125"/>
              </a:gdLst>
              <a:ahLst/>
              <a:cxnLst>
                <a:cxn ang="0">
                  <a:pos x="connsiteX0" y="connsiteY0"/>
                </a:cxn>
                <a:cxn ang="0">
                  <a:pos x="connsiteX1" y="connsiteY1"/>
                </a:cxn>
              </a:cxnLst>
              <a:rect l="l" t="t" r="r" b="b"/>
              <a:pathLst>
                <a:path w="200025" h="238125">
                  <a:moveTo>
                    <a:pt x="198474" y="5879"/>
                  </a:moveTo>
                  <a:lnTo>
                    <a:pt x="5879" y="240384"/>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3" name="Freeform: Shape 115">
              <a:extLst>
                <a:ext uri="{FF2B5EF4-FFF2-40B4-BE49-F238E27FC236}">
                  <a16:creationId xmlns:a16="http://schemas.microsoft.com/office/drawing/2014/main" id="{6B9C60F1-8AE7-4E05-C350-2C377BF91D3C}"/>
                </a:ext>
              </a:extLst>
            </p:cNvPr>
            <p:cNvSpPr/>
            <p:nvPr/>
          </p:nvSpPr>
          <p:spPr>
            <a:xfrm>
              <a:off x="6498553" y="3212714"/>
              <a:ext cx="190500" cy="238125"/>
            </a:xfrm>
            <a:custGeom>
              <a:avLst/>
              <a:gdLst>
                <a:gd name="connsiteX0" fmla="*/ 5879 w 190500"/>
                <a:gd name="connsiteY0" fmla="*/ 5879 h 238125"/>
                <a:gd name="connsiteX1" fmla="*/ 185139 w 190500"/>
                <a:gd name="connsiteY1" fmla="*/ 240384 h 238125"/>
              </a:gdLst>
              <a:ahLst/>
              <a:cxnLst>
                <a:cxn ang="0">
                  <a:pos x="connsiteX0" y="connsiteY0"/>
                </a:cxn>
                <a:cxn ang="0">
                  <a:pos x="connsiteX1" y="connsiteY1"/>
                </a:cxn>
              </a:cxnLst>
              <a:rect l="l" t="t" r="r" b="b"/>
              <a:pathLst>
                <a:path w="190500" h="238125">
                  <a:moveTo>
                    <a:pt x="5879" y="5879"/>
                  </a:moveTo>
                  <a:lnTo>
                    <a:pt x="185139" y="240384"/>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4" name="Freeform: Shape 116">
              <a:extLst>
                <a:ext uri="{FF2B5EF4-FFF2-40B4-BE49-F238E27FC236}">
                  <a16:creationId xmlns:a16="http://schemas.microsoft.com/office/drawing/2014/main" id="{7BF39BE5-0322-79E8-F1A5-2C2B37EDADFC}"/>
                </a:ext>
              </a:extLst>
            </p:cNvPr>
            <p:cNvSpPr/>
            <p:nvPr/>
          </p:nvSpPr>
          <p:spPr>
            <a:xfrm>
              <a:off x="5519481" y="3213859"/>
              <a:ext cx="1162050" cy="142875"/>
            </a:xfrm>
            <a:custGeom>
              <a:avLst/>
              <a:gdLst>
                <a:gd name="connsiteX0" fmla="*/ 4733 w 1162050"/>
                <a:gd name="connsiteY0" fmla="*/ 75314 h 142875"/>
                <a:gd name="connsiteX1" fmla="*/ 187709 w 1162050"/>
                <a:gd name="connsiteY1" fmla="*/ 4733 h 142875"/>
                <a:gd name="connsiteX2" fmla="*/ 984951 w 1162050"/>
                <a:gd name="connsiteY2" fmla="*/ 4733 h 142875"/>
                <a:gd name="connsiteX3" fmla="*/ 1164783 w 1162050"/>
                <a:gd name="connsiteY3" fmla="*/ 76742 h 142875"/>
                <a:gd name="connsiteX4" fmla="*/ 1068962 w 1162050"/>
                <a:gd name="connsiteY4" fmla="*/ 139798 h 142875"/>
                <a:gd name="connsiteX5" fmla="*/ 99698 w 1162050"/>
                <a:gd name="connsiteY5" fmla="*/ 13979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2050" h="142875">
                  <a:moveTo>
                    <a:pt x="4733" y="75314"/>
                  </a:moveTo>
                  <a:lnTo>
                    <a:pt x="187709" y="4733"/>
                  </a:lnTo>
                  <a:lnTo>
                    <a:pt x="984951" y="4733"/>
                  </a:lnTo>
                  <a:lnTo>
                    <a:pt x="1164783" y="76742"/>
                  </a:lnTo>
                  <a:lnTo>
                    <a:pt x="1068962" y="139798"/>
                  </a:lnTo>
                  <a:lnTo>
                    <a:pt x="99698" y="139798"/>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5" name="Freeform: Shape 117">
              <a:extLst>
                <a:ext uri="{FF2B5EF4-FFF2-40B4-BE49-F238E27FC236}">
                  <a16:creationId xmlns:a16="http://schemas.microsoft.com/office/drawing/2014/main" id="{5F5DDB6C-4029-F744-AB0A-F3A9467B78EC}"/>
                </a:ext>
              </a:extLst>
            </p:cNvPr>
            <p:cNvSpPr/>
            <p:nvPr/>
          </p:nvSpPr>
          <p:spPr>
            <a:xfrm>
              <a:off x="5392129" y="3347778"/>
              <a:ext cx="1409700" cy="285750"/>
            </a:xfrm>
            <a:custGeom>
              <a:avLst/>
              <a:gdLst>
                <a:gd name="connsiteX0" fmla="*/ 1406530 w 1409700"/>
                <a:gd name="connsiteY0" fmla="*/ 287247 h 285750"/>
                <a:gd name="connsiteX1" fmla="*/ 5879 w 1409700"/>
                <a:gd name="connsiteY1" fmla="*/ 287247 h 285750"/>
                <a:gd name="connsiteX2" fmla="*/ 227049 w 1409700"/>
                <a:gd name="connsiteY2" fmla="*/ 5879 h 285750"/>
                <a:gd name="connsiteX3" fmla="*/ 1196313 w 1409700"/>
                <a:gd name="connsiteY3" fmla="*/ 5879 h 285750"/>
              </a:gdLst>
              <a:ahLst/>
              <a:cxnLst>
                <a:cxn ang="0">
                  <a:pos x="connsiteX0" y="connsiteY0"/>
                </a:cxn>
                <a:cxn ang="0">
                  <a:pos x="connsiteX1" y="connsiteY1"/>
                </a:cxn>
                <a:cxn ang="0">
                  <a:pos x="connsiteX2" y="connsiteY2"/>
                </a:cxn>
                <a:cxn ang="0">
                  <a:pos x="connsiteX3" y="connsiteY3"/>
                </a:cxn>
              </a:cxnLst>
              <a:rect l="l" t="t" r="r" b="b"/>
              <a:pathLst>
                <a:path w="1409700" h="285750">
                  <a:moveTo>
                    <a:pt x="1406530" y="287247"/>
                  </a:moveTo>
                  <a:lnTo>
                    <a:pt x="5879" y="287247"/>
                  </a:lnTo>
                  <a:lnTo>
                    <a:pt x="227049" y="5879"/>
                  </a:lnTo>
                  <a:lnTo>
                    <a:pt x="1196313" y="5879"/>
                  </a:lnTo>
                  <a:close/>
                </a:path>
              </a:pathLst>
            </a:custGeom>
            <a:gradFill>
              <a:gsLst>
                <a:gs pos="0">
                  <a:schemeClr val="tx2">
                    <a:lumMod val="75000"/>
                    <a:alpha val="3100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6" name="Freeform: Shape 118">
              <a:extLst>
                <a:ext uri="{FF2B5EF4-FFF2-40B4-BE49-F238E27FC236}">
                  <a16:creationId xmlns:a16="http://schemas.microsoft.com/office/drawing/2014/main" id="{50F9D748-B0C3-8B80-43A7-D0BEF9756377}"/>
                </a:ext>
              </a:extLst>
            </p:cNvPr>
            <p:cNvSpPr/>
            <p:nvPr/>
          </p:nvSpPr>
          <p:spPr>
            <a:xfrm>
              <a:off x="6582564" y="3284723"/>
              <a:ext cx="352425" cy="352425"/>
            </a:xfrm>
            <a:custGeom>
              <a:avLst/>
              <a:gdLst>
                <a:gd name="connsiteX0" fmla="*/ 101700 w 352425"/>
                <a:gd name="connsiteY0" fmla="*/ 5879 h 352425"/>
                <a:gd name="connsiteX1" fmla="*/ 352208 w 352425"/>
                <a:gd name="connsiteY1" fmla="*/ 257434 h 352425"/>
                <a:gd name="connsiteX2" fmla="*/ 216095 w 352425"/>
                <a:gd name="connsiteY2" fmla="*/ 350303 h 352425"/>
                <a:gd name="connsiteX3" fmla="*/ 5879 w 352425"/>
                <a:gd name="connsiteY3" fmla="*/ 68934 h 352425"/>
              </a:gdLst>
              <a:ahLst/>
              <a:cxnLst>
                <a:cxn ang="0">
                  <a:pos x="connsiteX0" y="connsiteY0"/>
                </a:cxn>
                <a:cxn ang="0">
                  <a:pos x="connsiteX1" y="connsiteY1"/>
                </a:cxn>
                <a:cxn ang="0">
                  <a:pos x="connsiteX2" y="connsiteY2"/>
                </a:cxn>
                <a:cxn ang="0">
                  <a:pos x="connsiteX3" y="connsiteY3"/>
                </a:cxn>
              </a:cxnLst>
              <a:rect l="l" t="t" r="r" b="b"/>
              <a:pathLst>
                <a:path w="352425" h="352425">
                  <a:moveTo>
                    <a:pt x="101700" y="5879"/>
                  </a:moveTo>
                  <a:lnTo>
                    <a:pt x="352208" y="257434"/>
                  </a:lnTo>
                  <a:lnTo>
                    <a:pt x="216095" y="350303"/>
                  </a:lnTo>
                  <a:lnTo>
                    <a:pt x="5879" y="68934"/>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grpSp>
        <p:nvGrpSpPr>
          <p:cNvPr id="18" name="Group 17">
            <a:extLst>
              <a:ext uri="{FF2B5EF4-FFF2-40B4-BE49-F238E27FC236}">
                <a16:creationId xmlns:a16="http://schemas.microsoft.com/office/drawing/2014/main" id="{ADC16AAE-DA7E-AEC1-F46A-91BABA5587B9}"/>
              </a:ext>
            </a:extLst>
          </p:cNvPr>
          <p:cNvGrpSpPr/>
          <p:nvPr/>
        </p:nvGrpSpPr>
        <p:grpSpPr>
          <a:xfrm>
            <a:off x="4724124" y="2407574"/>
            <a:ext cx="1888565" cy="780685"/>
            <a:chOff x="5508239" y="3698877"/>
            <a:chExt cx="1163195" cy="315651"/>
          </a:xfrm>
        </p:grpSpPr>
        <p:sp>
          <p:nvSpPr>
            <p:cNvPr id="25" name="Freeform: Shape 121">
              <a:extLst>
                <a:ext uri="{FF2B5EF4-FFF2-40B4-BE49-F238E27FC236}">
                  <a16:creationId xmlns:a16="http://schemas.microsoft.com/office/drawing/2014/main" id="{5F1D00CF-D06D-314D-8CA7-74D5B45F00D1}"/>
                </a:ext>
              </a:extLst>
            </p:cNvPr>
            <p:cNvSpPr/>
            <p:nvPr/>
          </p:nvSpPr>
          <p:spPr>
            <a:xfrm>
              <a:off x="5509384" y="3871179"/>
              <a:ext cx="1162050" cy="142875"/>
            </a:xfrm>
            <a:custGeom>
              <a:avLst/>
              <a:gdLst>
                <a:gd name="connsiteX0" fmla="*/ 4733 w 1162050"/>
                <a:gd name="connsiteY0" fmla="*/ 75218 h 142875"/>
                <a:gd name="connsiteX1" fmla="*/ 187709 w 1162050"/>
                <a:gd name="connsiteY1" fmla="*/ 4733 h 142875"/>
                <a:gd name="connsiteX2" fmla="*/ 984951 w 1162050"/>
                <a:gd name="connsiteY2" fmla="*/ 4733 h 142875"/>
                <a:gd name="connsiteX3" fmla="*/ 1164879 w 1162050"/>
                <a:gd name="connsiteY3" fmla="*/ 76647 h 142875"/>
                <a:gd name="connsiteX4" fmla="*/ 1069057 w 1162050"/>
                <a:gd name="connsiteY4" fmla="*/ 139798 h 142875"/>
                <a:gd name="connsiteX5" fmla="*/ 99698 w 1162050"/>
                <a:gd name="connsiteY5" fmla="*/ 13979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2050" h="142875">
                  <a:moveTo>
                    <a:pt x="4733" y="75218"/>
                  </a:moveTo>
                  <a:lnTo>
                    <a:pt x="187709" y="4733"/>
                  </a:lnTo>
                  <a:lnTo>
                    <a:pt x="984951" y="4733"/>
                  </a:lnTo>
                  <a:lnTo>
                    <a:pt x="1164879" y="76647"/>
                  </a:lnTo>
                  <a:lnTo>
                    <a:pt x="1069057" y="139798"/>
                  </a:lnTo>
                  <a:lnTo>
                    <a:pt x="99698" y="139798"/>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6" name="Freeform: Shape 122">
              <a:extLst>
                <a:ext uri="{FF2B5EF4-FFF2-40B4-BE49-F238E27FC236}">
                  <a16:creationId xmlns:a16="http://schemas.microsoft.com/office/drawing/2014/main" id="{972349B0-4A7B-467F-D023-DAE13186B203}"/>
                </a:ext>
              </a:extLst>
            </p:cNvPr>
            <p:cNvSpPr/>
            <p:nvPr/>
          </p:nvSpPr>
          <p:spPr>
            <a:xfrm>
              <a:off x="5508239" y="3752495"/>
              <a:ext cx="266700" cy="257175"/>
            </a:xfrm>
            <a:custGeom>
              <a:avLst/>
              <a:gdLst>
                <a:gd name="connsiteX0" fmla="*/ 197045 w 266700"/>
                <a:gd name="connsiteY0" fmla="*/ 5879 h 257175"/>
                <a:gd name="connsiteX1" fmla="*/ 5879 w 266700"/>
                <a:gd name="connsiteY1" fmla="*/ 193902 h 257175"/>
                <a:gd name="connsiteX2" fmla="*/ 100843 w 266700"/>
                <a:gd name="connsiteY2" fmla="*/ 258482 h 257175"/>
                <a:gd name="connsiteX3" fmla="*/ 261530 w 266700"/>
                <a:gd name="connsiteY3" fmla="*/ 39311 h 257175"/>
              </a:gdLst>
              <a:ahLst/>
              <a:cxnLst>
                <a:cxn ang="0">
                  <a:pos x="connsiteX0" y="connsiteY0"/>
                </a:cxn>
                <a:cxn ang="0">
                  <a:pos x="connsiteX1" y="connsiteY1"/>
                </a:cxn>
                <a:cxn ang="0">
                  <a:pos x="connsiteX2" y="connsiteY2"/>
                </a:cxn>
                <a:cxn ang="0">
                  <a:pos x="connsiteX3" y="connsiteY3"/>
                </a:cxn>
              </a:cxnLst>
              <a:rect l="l" t="t" r="r" b="b"/>
              <a:pathLst>
                <a:path w="266700" h="257175">
                  <a:moveTo>
                    <a:pt x="197045" y="5879"/>
                  </a:moveTo>
                  <a:lnTo>
                    <a:pt x="5879" y="193902"/>
                  </a:lnTo>
                  <a:lnTo>
                    <a:pt x="100843" y="258482"/>
                  </a:lnTo>
                  <a:lnTo>
                    <a:pt x="261530" y="39311"/>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7" name="Freeform: Shape 123">
              <a:extLst>
                <a:ext uri="{FF2B5EF4-FFF2-40B4-BE49-F238E27FC236}">
                  <a16:creationId xmlns:a16="http://schemas.microsoft.com/office/drawing/2014/main" id="{F3A8D390-91ED-4B17-DE12-9E8F876DCC0E}"/>
                </a:ext>
              </a:extLst>
            </p:cNvPr>
            <p:cNvSpPr/>
            <p:nvPr/>
          </p:nvSpPr>
          <p:spPr>
            <a:xfrm>
              <a:off x="5700651" y="3698877"/>
              <a:ext cx="771525" cy="95250"/>
            </a:xfrm>
            <a:custGeom>
              <a:avLst/>
              <a:gdLst>
                <a:gd name="connsiteX0" fmla="*/ 4633 w 771525"/>
                <a:gd name="connsiteY0" fmla="*/ 59497 h 95250"/>
                <a:gd name="connsiteX1" fmla="*/ 137793 w 771525"/>
                <a:gd name="connsiteY1" fmla="*/ 4633 h 95250"/>
                <a:gd name="connsiteX2" fmla="*/ 646809 w 771525"/>
                <a:gd name="connsiteY2" fmla="*/ 4633 h 95250"/>
                <a:gd name="connsiteX3" fmla="*/ 775206 w 771525"/>
                <a:gd name="connsiteY3" fmla="*/ 59497 h 95250"/>
                <a:gd name="connsiteX4" fmla="*/ 709293 w 771525"/>
                <a:gd name="connsiteY4" fmla="*/ 92930 h 95250"/>
                <a:gd name="connsiteX5" fmla="*/ 69118 w 771525"/>
                <a:gd name="connsiteY5" fmla="*/ 9293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525" h="95250">
                  <a:moveTo>
                    <a:pt x="4633" y="59497"/>
                  </a:moveTo>
                  <a:lnTo>
                    <a:pt x="137793" y="4633"/>
                  </a:lnTo>
                  <a:lnTo>
                    <a:pt x="646809" y="4633"/>
                  </a:lnTo>
                  <a:lnTo>
                    <a:pt x="775206" y="59497"/>
                  </a:lnTo>
                  <a:lnTo>
                    <a:pt x="709293" y="92930"/>
                  </a:lnTo>
                  <a:lnTo>
                    <a:pt x="69118" y="92930"/>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8" name="Freeform: Shape 124">
              <a:extLst>
                <a:ext uri="{FF2B5EF4-FFF2-40B4-BE49-F238E27FC236}">
                  <a16:creationId xmlns:a16="http://schemas.microsoft.com/office/drawing/2014/main" id="{3C209A96-5206-31CA-7A14-D66575D6C6D0}"/>
                </a:ext>
              </a:extLst>
            </p:cNvPr>
            <p:cNvSpPr/>
            <p:nvPr/>
          </p:nvSpPr>
          <p:spPr>
            <a:xfrm>
              <a:off x="6404065" y="3752495"/>
              <a:ext cx="266700" cy="257175"/>
            </a:xfrm>
            <a:custGeom>
              <a:avLst/>
              <a:gdLst>
                <a:gd name="connsiteX0" fmla="*/ 174376 w 266700"/>
                <a:gd name="connsiteY0" fmla="*/ 258482 h 257175"/>
                <a:gd name="connsiteX1" fmla="*/ 270197 w 266700"/>
                <a:gd name="connsiteY1" fmla="*/ 195331 h 257175"/>
                <a:gd name="connsiteX2" fmla="*/ 71792 w 266700"/>
                <a:gd name="connsiteY2" fmla="*/ 5879 h 257175"/>
                <a:gd name="connsiteX3" fmla="*/ 5879 w 266700"/>
                <a:gd name="connsiteY3" fmla="*/ 39311 h 257175"/>
              </a:gdLst>
              <a:ahLst/>
              <a:cxnLst>
                <a:cxn ang="0">
                  <a:pos x="connsiteX0" y="connsiteY0"/>
                </a:cxn>
                <a:cxn ang="0">
                  <a:pos x="connsiteX1" y="connsiteY1"/>
                </a:cxn>
                <a:cxn ang="0">
                  <a:pos x="connsiteX2" y="connsiteY2"/>
                </a:cxn>
                <a:cxn ang="0">
                  <a:pos x="connsiteX3" y="connsiteY3"/>
                </a:cxn>
              </a:cxnLst>
              <a:rect l="l" t="t" r="r" b="b"/>
              <a:pathLst>
                <a:path w="266700" h="257175">
                  <a:moveTo>
                    <a:pt x="174376" y="258482"/>
                  </a:moveTo>
                  <a:lnTo>
                    <a:pt x="270197" y="195331"/>
                  </a:lnTo>
                  <a:lnTo>
                    <a:pt x="71792" y="5879"/>
                  </a:lnTo>
                  <a:lnTo>
                    <a:pt x="5879" y="39311"/>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9" name="Freeform: Shape 125">
              <a:extLst>
                <a:ext uri="{FF2B5EF4-FFF2-40B4-BE49-F238E27FC236}">
                  <a16:creationId xmlns:a16="http://schemas.microsoft.com/office/drawing/2014/main" id="{07F00001-2B24-665E-843D-D220606DB360}"/>
                </a:ext>
              </a:extLst>
            </p:cNvPr>
            <p:cNvSpPr/>
            <p:nvPr/>
          </p:nvSpPr>
          <p:spPr>
            <a:xfrm>
              <a:off x="5603203" y="3785928"/>
              <a:ext cx="981075" cy="228600"/>
            </a:xfrm>
            <a:custGeom>
              <a:avLst/>
              <a:gdLst>
                <a:gd name="connsiteX0" fmla="*/ 5879 w 981075"/>
                <a:gd name="connsiteY0" fmla="*/ 225049 h 228600"/>
                <a:gd name="connsiteX1" fmla="*/ 975238 w 981075"/>
                <a:gd name="connsiteY1" fmla="*/ 225049 h 228600"/>
                <a:gd name="connsiteX2" fmla="*/ 806741 w 981075"/>
                <a:gd name="connsiteY2" fmla="*/ 5879 h 228600"/>
                <a:gd name="connsiteX3" fmla="*/ 166565 w 981075"/>
                <a:gd name="connsiteY3" fmla="*/ 5879 h 228600"/>
              </a:gdLst>
              <a:ahLst/>
              <a:cxnLst>
                <a:cxn ang="0">
                  <a:pos x="connsiteX0" y="connsiteY0"/>
                </a:cxn>
                <a:cxn ang="0">
                  <a:pos x="connsiteX1" y="connsiteY1"/>
                </a:cxn>
                <a:cxn ang="0">
                  <a:pos x="connsiteX2" y="connsiteY2"/>
                </a:cxn>
                <a:cxn ang="0">
                  <a:pos x="connsiteX3" y="connsiteY3"/>
                </a:cxn>
              </a:cxnLst>
              <a:rect l="l" t="t" r="r" b="b"/>
              <a:pathLst>
                <a:path w="981075" h="228600">
                  <a:moveTo>
                    <a:pt x="5879" y="225049"/>
                  </a:moveTo>
                  <a:lnTo>
                    <a:pt x="975238" y="225049"/>
                  </a:lnTo>
                  <a:lnTo>
                    <a:pt x="806741" y="5879"/>
                  </a:lnTo>
                  <a:lnTo>
                    <a:pt x="166565" y="5879"/>
                  </a:lnTo>
                  <a:close/>
                </a:path>
              </a:pathLst>
            </a:custGeom>
            <a:gradFill>
              <a:gsLst>
                <a:gs pos="0">
                  <a:schemeClr val="tx2">
                    <a:lumMod val="75000"/>
                    <a:alpha val="3900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pic>
        <p:nvPicPr>
          <p:cNvPr id="19" name="Picture 18">
            <a:extLst>
              <a:ext uri="{FF2B5EF4-FFF2-40B4-BE49-F238E27FC236}">
                <a16:creationId xmlns:a16="http://schemas.microsoft.com/office/drawing/2014/main" id="{6C8A0E95-8F7E-7265-7A09-0E1E81FED78A}"/>
              </a:ext>
            </a:extLst>
          </p:cNvPr>
          <p:cNvPicPr>
            <a:picLocks noChangeAspect="1"/>
          </p:cNvPicPr>
          <p:nvPr/>
        </p:nvPicPr>
        <p:blipFill rotWithShape="1">
          <a:blip r:embed="rId4">
            <a:biLevel thresh="25000"/>
          </a:blip>
          <a:srcRect b="19590"/>
          <a:stretch/>
        </p:blipFill>
        <p:spPr>
          <a:xfrm>
            <a:off x="5117246" y="2833064"/>
            <a:ext cx="1167657" cy="225700"/>
          </a:xfrm>
          <a:prstGeom prst="rect">
            <a:avLst/>
          </a:prstGeom>
        </p:spPr>
      </p:pic>
      <p:sp>
        <p:nvSpPr>
          <p:cNvPr id="20" name="Freeform: Shape 127">
            <a:extLst>
              <a:ext uri="{FF2B5EF4-FFF2-40B4-BE49-F238E27FC236}">
                <a16:creationId xmlns:a16="http://schemas.microsoft.com/office/drawing/2014/main" id="{4243B5DE-AC99-7A44-95AB-CDFB364D7410}"/>
              </a:ext>
            </a:extLst>
          </p:cNvPr>
          <p:cNvSpPr/>
          <p:nvPr/>
        </p:nvSpPr>
        <p:spPr>
          <a:xfrm>
            <a:off x="5041012" y="2407574"/>
            <a:ext cx="1252649" cy="235576"/>
          </a:xfrm>
          <a:custGeom>
            <a:avLst/>
            <a:gdLst>
              <a:gd name="connsiteX0" fmla="*/ 4633 w 771525"/>
              <a:gd name="connsiteY0" fmla="*/ 59497 h 95250"/>
              <a:gd name="connsiteX1" fmla="*/ 137888 w 771525"/>
              <a:gd name="connsiteY1" fmla="*/ 4633 h 95250"/>
              <a:gd name="connsiteX2" fmla="*/ 646904 w 771525"/>
              <a:gd name="connsiteY2" fmla="*/ 4633 h 95250"/>
              <a:gd name="connsiteX3" fmla="*/ 775206 w 771525"/>
              <a:gd name="connsiteY3" fmla="*/ 59497 h 95250"/>
              <a:gd name="connsiteX4" fmla="*/ 709388 w 771525"/>
              <a:gd name="connsiteY4" fmla="*/ 92930 h 95250"/>
              <a:gd name="connsiteX5" fmla="*/ 69213 w 771525"/>
              <a:gd name="connsiteY5" fmla="*/ 9293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525" h="95250">
                <a:moveTo>
                  <a:pt x="4633" y="59497"/>
                </a:moveTo>
                <a:lnTo>
                  <a:pt x="137888" y="4633"/>
                </a:lnTo>
                <a:lnTo>
                  <a:pt x="646904" y="4633"/>
                </a:lnTo>
                <a:lnTo>
                  <a:pt x="775206" y="59497"/>
                </a:lnTo>
                <a:lnTo>
                  <a:pt x="709388" y="92930"/>
                </a:lnTo>
                <a:lnTo>
                  <a:pt x="69213" y="92930"/>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1" name="Freeform: Shape 128">
            <a:extLst>
              <a:ext uri="{FF2B5EF4-FFF2-40B4-BE49-F238E27FC236}">
                <a16:creationId xmlns:a16="http://schemas.microsoft.com/office/drawing/2014/main" id="{7174C828-CD27-5889-24F0-537106C14B7A}"/>
              </a:ext>
            </a:extLst>
          </p:cNvPr>
          <p:cNvSpPr/>
          <p:nvPr/>
        </p:nvSpPr>
        <p:spPr>
          <a:xfrm>
            <a:off x="5038991" y="1598349"/>
            <a:ext cx="634057" cy="1036539"/>
          </a:xfrm>
          <a:custGeom>
            <a:avLst/>
            <a:gdLst>
              <a:gd name="connsiteX0" fmla="*/ 390689 w 390525"/>
              <a:gd name="connsiteY0" fmla="*/ 5879 h 419100"/>
              <a:gd name="connsiteX1" fmla="*/ 5879 w 390525"/>
              <a:gd name="connsiteY1" fmla="*/ 386688 h 419100"/>
              <a:gd name="connsiteX2" fmla="*/ 70458 w 390525"/>
              <a:gd name="connsiteY2" fmla="*/ 420121 h 419100"/>
            </a:gdLst>
            <a:ahLst/>
            <a:cxnLst>
              <a:cxn ang="0">
                <a:pos x="connsiteX0" y="connsiteY0"/>
              </a:cxn>
              <a:cxn ang="0">
                <a:pos x="connsiteX1" y="connsiteY1"/>
              </a:cxn>
              <a:cxn ang="0">
                <a:pos x="connsiteX2" y="connsiteY2"/>
              </a:cxn>
            </a:cxnLst>
            <a:rect l="l" t="t" r="r" b="b"/>
            <a:pathLst>
              <a:path w="390525" h="419100">
                <a:moveTo>
                  <a:pt x="390689" y="5879"/>
                </a:moveTo>
                <a:lnTo>
                  <a:pt x="5879" y="386688"/>
                </a:lnTo>
                <a:lnTo>
                  <a:pt x="70458" y="420121"/>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2" name="Freeform: Shape 129">
            <a:extLst>
              <a:ext uri="{FF2B5EF4-FFF2-40B4-BE49-F238E27FC236}">
                <a16:creationId xmlns:a16="http://schemas.microsoft.com/office/drawing/2014/main" id="{F699E1B6-FDF4-79E1-3273-802FB5F88FF7}"/>
              </a:ext>
            </a:extLst>
          </p:cNvPr>
          <p:cNvSpPr/>
          <p:nvPr/>
        </p:nvSpPr>
        <p:spPr>
          <a:xfrm>
            <a:off x="5663767" y="1598349"/>
            <a:ext cx="634057" cy="1036539"/>
          </a:xfrm>
          <a:custGeom>
            <a:avLst/>
            <a:gdLst>
              <a:gd name="connsiteX0" fmla="*/ 5879 w 390525"/>
              <a:gd name="connsiteY0" fmla="*/ 5879 h 419100"/>
              <a:gd name="connsiteX1" fmla="*/ 391641 w 390525"/>
              <a:gd name="connsiteY1" fmla="*/ 386688 h 419100"/>
              <a:gd name="connsiteX2" fmla="*/ 325823 w 390525"/>
              <a:gd name="connsiteY2" fmla="*/ 420121 h 419100"/>
            </a:gdLst>
            <a:ahLst/>
            <a:cxnLst>
              <a:cxn ang="0">
                <a:pos x="connsiteX0" y="connsiteY0"/>
              </a:cxn>
              <a:cxn ang="0">
                <a:pos x="connsiteX1" y="connsiteY1"/>
              </a:cxn>
              <a:cxn ang="0">
                <a:pos x="connsiteX2" y="connsiteY2"/>
              </a:cxn>
            </a:cxnLst>
            <a:rect l="l" t="t" r="r" b="b"/>
            <a:pathLst>
              <a:path w="390525" h="419100">
                <a:moveTo>
                  <a:pt x="5879" y="5879"/>
                </a:moveTo>
                <a:lnTo>
                  <a:pt x="391641" y="386688"/>
                </a:lnTo>
                <a:lnTo>
                  <a:pt x="325823" y="420121"/>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3" name="Freeform: Shape 130">
            <a:extLst>
              <a:ext uri="{FF2B5EF4-FFF2-40B4-BE49-F238E27FC236}">
                <a16:creationId xmlns:a16="http://schemas.microsoft.com/office/drawing/2014/main" id="{B2C0FBA3-5A06-53D1-1B83-7F366BE9C155}"/>
              </a:ext>
            </a:extLst>
          </p:cNvPr>
          <p:cNvSpPr/>
          <p:nvPr/>
        </p:nvSpPr>
        <p:spPr>
          <a:xfrm>
            <a:off x="5143841" y="1598349"/>
            <a:ext cx="1051607" cy="1036539"/>
          </a:xfrm>
          <a:custGeom>
            <a:avLst/>
            <a:gdLst>
              <a:gd name="connsiteX0" fmla="*/ 5879 w 647700"/>
              <a:gd name="connsiteY0" fmla="*/ 420121 h 419100"/>
              <a:gd name="connsiteX1" fmla="*/ 646054 w 647700"/>
              <a:gd name="connsiteY1" fmla="*/ 420121 h 419100"/>
              <a:gd name="connsiteX2" fmla="*/ 326109 w 647700"/>
              <a:gd name="connsiteY2" fmla="*/ 5879 h 419100"/>
            </a:gdLst>
            <a:ahLst/>
            <a:cxnLst>
              <a:cxn ang="0">
                <a:pos x="connsiteX0" y="connsiteY0"/>
              </a:cxn>
              <a:cxn ang="0">
                <a:pos x="connsiteX1" y="connsiteY1"/>
              </a:cxn>
              <a:cxn ang="0">
                <a:pos x="connsiteX2" y="connsiteY2"/>
              </a:cxn>
            </a:cxnLst>
            <a:rect l="l" t="t" r="r" b="b"/>
            <a:pathLst>
              <a:path w="647700" h="419100">
                <a:moveTo>
                  <a:pt x="5879" y="420121"/>
                </a:moveTo>
                <a:lnTo>
                  <a:pt x="646054" y="420121"/>
                </a:lnTo>
                <a:lnTo>
                  <a:pt x="326109" y="5879"/>
                </a:lnTo>
                <a:close/>
              </a:path>
            </a:pathLst>
          </a:custGeom>
          <a:gradFill>
            <a:gsLst>
              <a:gs pos="0">
                <a:schemeClr val="tx2">
                  <a:lumMod val="75000"/>
                  <a:alpha val="4000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pic>
        <p:nvPicPr>
          <p:cNvPr id="24" name="Picture 23">
            <a:extLst>
              <a:ext uri="{FF2B5EF4-FFF2-40B4-BE49-F238E27FC236}">
                <a16:creationId xmlns:a16="http://schemas.microsoft.com/office/drawing/2014/main" id="{F640E26D-5E55-ED1A-456B-1D2F3B4812C1}"/>
              </a:ext>
            </a:extLst>
          </p:cNvPr>
          <p:cNvPicPr>
            <a:picLocks noChangeAspect="1"/>
          </p:cNvPicPr>
          <p:nvPr/>
        </p:nvPicPr>
        <p:blipFill>
          <a:blip r:embed="rId5">
            <a:biLevel thresh="25000"/>
          </a:blip>
          <a:stretch>
            <a:fillRect/>
          </a:stretch>
        </p:blipFill>
        <p:spPr>
          <a:xfrm>
            <a:off x="5424376" y="2157104"/>
            <a:ext cx="553396" cy="544840"/>
          </a:xfrm>
          <a:prstGeom prst="rect">
            <a:avLst/>
          </a:prstGeom>
        </p:spPr>
      </p:pic>
      <p:sp>
        <p:nvSpPr>
          <p:cNvPr id="61" name="Content Placeholder 134">
            <a:extLst>
              <a:ext uri="{FF2B5EF4-FFF2-40B4-BE49-F238E27FC236}">
                <a16:creationId xmlns:a16="http://schemas.microsoft.com/office/drawing/2014/main" id="{D194C05C-6052-B280-2A00-9B6AEBB1B50B}"/>
              </a:ext>
            </a:extLst>
          </p:cNvPr>
          <p:cNvSpPr txBox="1">
            <a:spLocks/>
          </p:cNvSpPr>
          <p:nvPr/>
        </p:nvSpPr>
        <p:spPr>
          <a:xfrm>
            <a:off x="1242209" y="2267370"/>
            <a:ext cx="3849207"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0sMB,  ~1ns  </a:t>
            </a:r>
          </a:p>
        </p:txBody>
      </p:sp>
      <p:sp>
        <p:nvSpPr>
          <p:cNvPr id="62" name="Content Placeholder 134">
            <a:extLst>
              <a:ext uri="{FF2B5EF4-FFF2-40B4-BE49-F238E27FC236}">
                <a16:creationId xmlns:a16="http://schemas.microsoft.com/office/drawing/2014/main" id="{00991198-F210-38C3-2525-173DB5620645}"/>
              </a:ext>
            </a:extLst>
          </p:cNvPr>
          <p:cNvSpPr txBox="1">
            <a:spLocks/>
          </p:cNvSpPr>
          <p:nvPr/>
        </p:nvSpPr>
        <p:spPr>
          <a:xfrm>
            <a:off x="2978678" y="2708326"/>
            <a:ext cx="1592875"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sGB, ~10ns</a:t>
            </a:r>
          </a:p>
        </p:txBody>
      </p:sp>
      <p:sp>
        <p:nvSpPr>
          <p:cNvPr id="64" name="Content Placeholder 134">
            <a:extLst>
              <a:ext uri="{FF2B5EF4-FFF2-40B4-BE49-F238E27FC236}">
                <a16:creationId xmlns:a16="http://schemas.microsoft.com/office/drawing/2014/main" id="{73CEC458-0BDD-B99F-59DF-A843C9AE5D07}"/>
              </a:ext>
            </a:extLst>
          </p:cNvPr>
          <p:cNvSpPr txBox="1">
            <a:spLocks/>
          </p:cNvSpPr>
          <p:nvPr/>
        </p:nvSpPr>
        <p:spPr>
          <a:xfrm>
            <a:off x="6322952" y="1913740"/>
            <a:ext cx="5869048"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FontTx/>
              <a:buNone/>
            </a:pPr>
            <a:r>
              <a:rPr lang="en-US" sz="1600" kern="0" dirty="0"/>
              <a:t>HC, HS SRAM: </a:t>
            </a:r>
            <a:br>
              <a:rPr lang="en-US" sz="1600" kern="0" dirty="0"/>
            </a:br>
            <a:r>
              <a:rPr lang="en-US" sz="1600" b="0" kern="0" dirty="0"/>
              <a:t>Cell size and capacity, architecture and </a:t>
            </a:r>
            <a:r>
              <a:rPr lang="en-US" sz="1600" b="0" kern="0" dirty="0" err="1"/>
              <a:t>ip</a:t>
            </a:r>
            <a:r>
              <a:rPr lang="en-US" sz="1600" b="0" kern="0" dirty="0"/>
              <a:t> folding</a:t>
            </a:r>
          </a:p>
        </p:txBody>
      </p:sp>
      <p:sp>
        <p:nvSpPr>
          <p:cNvPr id="65" name="Content Placeholder 134">
            <a:extLst>
              <a:ext uri="{FF2B5EF4-FFF2-40B4-BE49-F238E27FC236}">
                <a16:creationId xmlns:a16="http://schemas.microsoft.com/office/drawing/2014/main" id="{A7048794-A12E-B9BC-A8D1-A5D9DBCD15BE}"/>
              </a:ext>
            </a:extLst>
          </p:cNvPr>
          <p:cNvSpPr txBox="1">
            <a:spLocks/>
          </p:cNvSpPr>
          <p:nvPr/>
        </p:nvSpPr>
        <p:spPr>
          <a:xfrm>
            <a:off x="2371444" y="3259372"/>
            <a:ext cx="1979286"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sGB, ~100ns</a:t>
            </a:r>
          </a:p>
        </p:txBody>
      </p:sp>
      <p:sp>
        <p:nvSpPr>
          <p:cNvPr id="66" name="Content Placeholder 134">
            <a:extLst>
              <a:ext uri="{FF2B5EF4-FFF2-40B4-BE49-F238E27FC236}">
                <a16:creationId xmlns:a16="http://schemas.microsoft.com/office/drawing/2014/main" id="{EB8EC5D9-B5F0-F4C6-DE01-F7CC35FB79AC}"/>
              </a:ext>
            </a:extLst>
          </p:cNvPr>
          <p:cNvSpPr txBox="1">
            <a:spLocks/>
          </p:cNvSpPr>
          <p:nvPr/>
        </p:nvSpPr>
        <p:spPr>
          <a:xfrm>
            <a:off x="1913263" y="3850275"/>
            <a:ext cx="1979286"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0sGB, ~1µs</a:t>
            </a:r>
          </a:p>
        </p:txBody>
      </p:sp>
      <p:sp>
        <p:nvSpPr>
          <p:cNvPr id="67" name="Content Placeholder 134">
            <a:extLst>
              <a:ext uri="{FF2B5EF4-FFF2-40B4-BE49-F238E27FC236}">
                <a16:creationId xmlns:a16="http://schemas.microsoft.com/office/drawing/2014/main" id="{402EA3B8-05F5-7AA6-E2F1-56D03CCE9381}"/>
              </a:ext>
            </a:extLst>
          </p:cNvPr>
          <p:cNvSpPr txBox="1">
            <a:spLocks/>
          </p:cNvSpPr>
          <p:nvPr/>
        </p:nvSpPr>
        <p:spPr>
          <a:xfrm>
            <a:off x="1428149" y="4534781"/>
            <a:ext cx="1979286"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sTB, ~10µs</a:t>
            </a:r>
          </a:p>
        </p:txBody>
      </p:sp>
      <p:sp>
        <p:nvSpPr>
          <p:cNvPr id="68" name="Content Placeholder 134">
            <a:extLst>
              <a:ext uri="{FF2B5EF4-FFF2-40B4-BE49-F238E27FC236}">
                <a16:creationId xmlns:a16="http://schemas.microsoft.com/office/drawing/2014/main" id="{C7F5ADC1-06D2-F5D7-81F4-6F42462FB5C1}"/>
              </a:ext>
            </a:extLst>
          </p:cNvPr>
          <p:cNvSpPr txBox="1">
            <a:spLocks/>
          </p:cNvSpPr>
          <p:nvPr/>
        </p:nvSpPr>
        <p:spPr>
          <a:xfrm>
            <a:off x="1013068" y="5239051"/>
            <a:ext cx="1979286"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sTB, ~100µs</a:t>
            </a:r>
          </a:p>
        </p:txBody>
      </p:sp>
      <p:sp>
        <p:nvSpPr>
          <p:cNvPr id="70" name="Content Placeholder 134">
            <a:extLst>
              <a:ext uri="{FF2B5EF4-FFF2-40B4-BE49-F238E27FC236}">
                <a16:creationId xmlns:a16="http://schemas.microsoft.com/office/drawing/2014/main" id="{67EF081D-DA52-37C9-1ED4-181844A6EB31}"/>
              </a:ext>
            </a:extLst>
          </p:cNvPr>
          <p:cNvSpPr txBox="1">
            <a:spLocks/>
          </p:cNvSpPr>
          <p:nvPr/>
        </p:nvSpPr>
        <p:spPr>
          <a:xfrm>
            <a:off x="6791533" y="2609126"/>
            <a:ext cx="3709210"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None/>
            </a:pPr>
            <a:r>
              <a:rPr lang="en-US" sz="1600" kern="0" dirty="0" err="1"/>
              <a:t>Disagg</a:t>
            </a:r>
            <a:r>
              <a:rPr lang="en-US" sz="1600" kern="0" dirty="0"/>
              <a:t>. HD SRAM or Custom HBW DRAM: </a:t>
            </a:r>
            <a:br>
              <a:rPr lang="en-US" sz="1600" kern="0" dirty="0"/>
            </a:br>
            <a:r>
              <a:rPr lang="en-US" sz="1600" b="0" kern="0" dirty="0"/>
              <a:t>Chiplet in 3DIC</a:t>
            </a:r>
          </a:p>
        </p:txBody>
      </p:sp>
      <p:sp>
        <p:nvSpPr>
          <p:cNvPr id="71" name="Content Placeholder 134">
            <a:extLst>
              <a:ext uri="{FF2B5EF4-FFF2-40B4-BE49-F238E27FC236}">
                <a16:creationId xmlns:a16="http://schemas.microsoft.com/office/drawing/2014/main" id="{A3A38291-6EE2-B746-64EA-298E09ED1756}"/>
              </a:ext>
            </a:extLst>
          </p:cNvPr>
          <p:cNvSpPr txBox="1">
            <a:spLocks/>
          </p:cNvSpPr>
          <p:nvPr/>
        </p:nvSpPr>
        <p:spPr>
          <a:xfrm>
            <a:off x="7129599" y="3301526"/>
            <a:ext cx="3709210"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None/>
            </a:pPr>
            <a:r>
              <a:rPr lang="en-US" sz="1600" kern="0" dirty="0"/>
              <a:t>JEDEC DRAM</a:t>
            </a:r>
            <a:br>
              <a:rPr lang="en-US" sz="1600" kern="0" dirty="0"/>
            </a:br>
            <a:r>
              <a:rPr lang="en-US" sz="1600" b="0" kern="0" dirty="0"/>
              <a:t>Cell Size, 3D Topo</a:t>
            </a:r>
          </a:p>
        </p:txBody>
      </p:sp>
      <p:sp>
        <p:nvSpPr>
          <p:cNvPr id="72" name="Content Placeholder 134">
            <a:extLst>
              <a:ext uri="{FF2B5EF4-FFF2-40B4-BE49-F238E27FC236}">
                <a16:creationId xmlns:a16="http://schemas.microsoft.com/office/drawing/2014/main" id="{C68CF1DA-B8E5-9017-E86A-E8BB104AB913}"/>
              </a:ext>
            </a:extLst>
          </p:cNvPr>
          <p:cNvSpPr txBox="1">
            <a:spLocks/>
          </p:cNvSpPr>
          <p:nvPr/>
        </p:nvSpPr>
        <p:spPr>
          <a:xfrm>
            <a:off x="7551130" y="4037590"/>
            <a:ext cx="4607564"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None/>
            </a:pPr>
            <a:r>
              <a:rPr lang="en-US" sz="1600" kern="0" dirty="0"/>
              <a:t>3D </a:t>
            </a:r>
            <a:r>
              <a:rPr lang="en-US" sz="1600" kern="0" dirty="0" err="1"/>
              <a:t>XPoint</a:t>
            </a:r>
            <a:br>
              <a:rPr lang="en-US" sz="1600" kern="0" dirty="0"/>
            </a:br>
            <a:r>
              <a:rPr lang="en-US" sz="1600" b="0" kern="0" dirty="0"/>
              <a:t>Adoption tipping point, “Crossing the chasm”</a:t>
            </a:r>
          </a:p>
        </p:txBody>
      </p:sp>
      <p:sp>
        <p:nvSpPr>
          <p:cNvPr id="73" name="Content Placeholder 134">
            <a:extLst>
              <a:ext uri="{FF2B5EF4-FFF2-40B4-BE49-F238E27FC236}">
                <a16:creationId xmlns:a16="http://schemas.microsoft.com/office/drawing/2014/main" id="{21252734-19A2-0AE3-B154-3D43F01ED6BF}"/>
              </a:ext>
            </a:extLst>
          </p:cNvPr>
          <p:cNvSpPr txBox="1">
            <a:spLocks/>
          </p:cNvSpPr>
          <p:nvPr/>
        </p:nvSpPr>
        <p:spPr>
          <a:xfrm>
            <a:off x="8319045" y="4972330"/>
            <a:ext cx="3709210"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None/>
            </a:pPr>
            <a:r>
              <a:rPr lang="en-US" sz="1600" kern="0" dirty="0"/>
              <a:t>3D NAND</a:t>
            </a:r>
            <a:br>
              <a:rPr lang="en-US" sz="1600" kern="0" dirty="0"/>
            </a:br>
            <a:r>
              <a:rPr lang="en-US" sz="1600" b="0" kern="0" dirty="0"/>
              <a:t>HAR, Layer Transfer</a:t>
            </a:r>
          </a:p>
        </p:txBody>
      </p:sp>
      <p:sp>
        <p:nvSpPr>
          <p:cNvPr id="75" name="Oval 74">
            <a:extLst>
              <a:ext uri="{FF2B5EF4-FFF2-40B4-BE49-F238E27FC236}">
                <a16:creationId xmlns:a16="http://schemas.microsoft.com/office/drawing/2014/main" id="{F282B8C1-3AA3-3AC2-AFB9-A56AA12E622A}"/>
              </a:ext>
            </a:extLst>
          </p:cNvPr>
          <p:cNvSpPr/>
          <p:nvPr/>
        </p:nvSpPr>
        <p:spPr>
          <a:xfrm>
            <a:off x="4796334" y="2613143"/>
            <a:ext cx="1729285" cy="612310"/>
          </a:xfrm>
          <a:prstGeom prst="ellipse">
            <a:avLst/>
          </a:prstGeom>
          <a:noFill/>
          <a:ln w="38100">
            <a:solidFill>
              <a:srgbClr val="FFF0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8"/>
          </a:p>
        </p:txBody>
      </p:sp>
      <p:sp>
        <p:nvSpPr>
          <p:cNvPr id="2" name="Content Placeholder 134">
            <a:extLst>
              <a:ext uri="{FF2B5EF4-FFF2-40B4-BE49-F238E27FC236}">
                <a16:creationId xmlns:a16="http://schemas.microsoft.com/office/drawing/2014/main" id="{D28EB753-2504-A428-8E4A-6651D553C288}"/>
              </a:ext>
            </a:extLst>
          </p:cNvPr>
          <p:cNvSpPr txBox="1">
            <a:spLocks/>
          </p:cNvSpPr>
          <p:nvPr/>
        </p:nvSpPr>
        <p:spPr>
          <a:xfrm>
            <a:off x="1523695" y="1829756"/>
            <a:ext cx="3849207"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sMB,  ~100ps  </a:t>
            </a:r>
          </a:p>
        </p:txBody>
      </p:sp>
      <p:sp>
        <p:nvSpPr>
          <p:cNvPr id="3" name="TextBox 2">
            <a:extLst>
              <a:ext uri="{FF2B5EF4-FFF2-40B4-BE49-F238E27FC236}">
                <a16:creationId xmlns:a16="http://schemas.microsoft.com/office/drawing/2014/main" id="{B370D160-1F27-2FF8-26A3-2BF2F1AD284B}"/>
              </a:ext>
            </a:extLst>
          </p:cNvPr>
          <p:cNvSpPr txBox="1"/>
          <p:nvPr/>
        </p:nvSpPr>
        <p:spPr>
          <a:xfrm>
            <a:off x="5192752" y="7779196"/>
            <a:ext cx="1439497" cy="492443"/>
          </a:xfrm>
          <a:prstGeom prst="rect">
            <a:avLst/>
          </a:prstGeom>
          <a:noFill/>
        </p:spPr>
        <p:txBody>
          <a:bodyPr wrap="none" lIns="0" tIns="0" rIns="0" bIns="0" rtlCol="0">
            <a:spAutoFit/>
          </a:bodyPr>
          <a:lstStyle/>
          <a:p>
            <a:r>
              <a:rPr lang="en-US" sz="3200" dirty="0">
                <a:solidFill>
                  <a:schemeClr val="bg1">
                    <a:lumMod val="85000"/>
                  </a:schemeClr>
                </a:solidFill>
                <a:latin typeface="Intel Clear Pro" panose="020B0804020202060201" pitchFamily="34" charset="77"/>
                <a:ea typeface="Intel Clear Pro" panose="020B0804020202060201" pitchFamily="34" charset="77"/>
                <a:cs typeface="Intel Clear Pro" panose="020B0804020202060201" pitchFamily="34" charset="77"/>
              </a:rPr>
              <a:t>Main Memory</a:t>
            </a:r>
          </a:p>
        </p:txBody>
      </p:sp>
      <p:pic>
        <p:nvPicPr>
          <p:cNvPr id="7" name="Picture 6">
            <a:extLst>
              <a:ext uri="{FF2B5EF4-FFF2-40B4-BE49-F238E27FC236}">
                <a16:creationId xmlns:a16="http://schemas.microsoft.com/office/drawing/2014/main" id="{88D844E6-E9F0-7E09-4312-24A72CEB0CD9}"/>
              </a:ext>
            </a:extLst>
          </p:cNvPr>
          <p:cNvPicPr>
            <a:picLocks noChangeAspect="1"/>
          </p:cNvPicPr>
          <p:nvPr/>
        </p:nvPicPr>
        <p:blipFill>
          <a:blip r:embed="rId6"/>
          <a:stretch>
            <a:fillRect/>
          </a:stretch>
        </p:blipFill>
        <p:spPr>
          <a:xfrm>
            <a:off x="5002542" y="5301934"/>
            <a:ext cx="1630153" cy="863600"/>
          </a:xfrm>
          <a:prstGeom prst="rect">
            <a:avLst/>
          </a:prstGeom>
        </p:spPr>
      </p:pic>
      <p:pic>
        <p:nvPicPr>
          <p:cNvPr id="63" name="Picture 62">
            <a:extLst>
              <a:ext uri="{FF2B5EF4-FFF2-40B4-BE49-F238E27FC236}">
                <a16:creationId xmlns:a16="http://schemas.microsoft.com/office/drawing/2014/main" id="{C2A843C4-4DEA-C4AD-1F5E-91D3F0EBA20F}"/>
              </a:ext>
            </a:extLst>
          </p:cNvPr>
          <p:cNvPicPr>
            <a:picLocks noChangeAspect="1"/>
          </p:cNvPicPr>
          <p:nvPr/>
        </p:nvPicPr>
        <p:blipFill>
          <a:blip r:embed="rId7"/>
          <a:stretch>
            <a:fillRect/>
          </a:stretch>
        </p:blipFill>
        <p:spPr>
          <a:xfrm>
            <a:off x="5135853" y="3278423"/>
            <a:ext cx="1141680" cy="763293"/>
          </a:xfrm>
          <a:prstGeom prst="rect">
            <a:avLst/>
          </a:prstGeom>
        </p:spPr>
      </p:pic>
    </p:spTree>
    <p:extLst>
      <p:ext uri="{BB962C8B-B14F-4D97-AF65-F5344CB8AC3E}">
        <p14:creationId xmlns:p14="http://schemas.microsoft.com/office/powerpoint/2010/main" val="1317308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70" grpId="0"/>
      <p:bldP spid="71" grpId="0"/>
      <p:bldP spid="72" grpId="0"/>
      <p:bldP spid="73" grpId="0"/>
      <p:bldP spid="7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325671-343F-50B9-7614-C886077ABDA4}"/>
              </a:ext>
            </a:extLst>
          </p:cNvPr>
          <p:cNvSpPr>
            <a:spLocks noGrp="1"/>
          </p:cNvSpPr>
          <p:nvPr>
            <p:ph type="title"/>
          </p:nvPr>
        </p:nvSpPr>
        <p:spPr/>
        <p:txBody>
          <a:bodyPr/>
          <a:lstStyle/>
          <a:p>
            <a:r>
              <a:rPr lang="en-US" sz="3600" dirty="0"/>
              <a:t>Strategy for Memory Subsystem </a:t>
            </a:r>
            <a:br>
              <a:rPr lang="en-US" sz="3600" dirty="0"/>
            </a:br>
            <a:r>
              <a:rPr lang="en-US" sz="2400" dirty="0"/>
              <a:t>Exploration, Development and Deployment </a:t>
            </a:r>
          </a:p>
        </p:txBody>
      </p:sp>
      <p:sp>
        <p:nvSpPr>
          <p:cNvPr id="6" name="Content Placeholder 5">
            <a:extLst>
              <a:ext uri="{FF2B5EF4-FFF2-40B4-BE49-F238E27FC236}">
                <a16:creationId xmlns:a16="http://schemas.microsoft.com/office/drawing/2014/main" id="{7C1360A8-8A5C-20E2-5134-C2F65557A168}"/>
              </a:ext>
            </a:extLst>
          </p:cNvPr>
          <p:cNvSpPr>
            <a:spLocks noGrp="1"/>
          </p:cNvSpPr>
          <p:nvPr>
            <p:ph idx="1"/>
          </p:nvPr>
        </p:nvSpPr>
        <p:spPr/>
        <p:txBody>
          <a:bodyPr>
            <a:noAutofit/>
          </a:bodyPr>
          <a:lstStyle/>
          <a:p>
            <a:r>
              <a:rPr lang="en-US" sz="2400" dirty="0"/>
              <a:t>Choosing Right Success Criteria – “pick on someone your own size”</a:t>
            </a:r>
          </a:p>
          <a:p>
            <a:pPr lvl="1"/>
            <a:r>
              <a:rPr lang="en-US" sz="2400" dirty="0"/>
              <a:t>Universal memory often sought, but hierarchy always existed and likely always will be</a:t>
            </a:r>
          </a:p>
          <a:p>
            <a:pPr lvl="1"/>
            <a:r>
              <a:rPr lang="en-US" sz="2400" dirty="0" err="1"/>
              <a:t>FoM</a:t>
            </a:r>
            <a:r>
              <a:rPr lang="en-US" sz="2400" dirty="0"/>
              <a:t> must be </a:t>
            </a:r>
            <a:r>
              <a:rPr lang="en-US" sz="2400" dirty="0">
                <a:sym typeface="Wingdings" pitchFamily="2" charset="2"/>
              </a:rPr>
              <a:t>benchmarked with respect to the corresponding </a:t>
            </a:r>
            <a:r>
              <a:rPr lang="en-US" sz="2400" i="1" dirty="0">
                <a:ea typeface="Calibri" pitchFamily="34" charset="0"/>
                <a:cs typeface="Arial" pitchFamily="34" charset="0"/>
              </a:rPr>
              <a:t>hierarchy of memories of a computer architecture</a:t>
            </a:r>
            <a:endParaRPr lang="en-US" sz="2400" dirty="0"/>
          </a:p>
          <a:p>
            <a:r>
              <a:rPr lang="en-US" sz="2400" dirty="0"/>
              <a:t>Memory Subsystem</a:t>
            </a:r>
          </a:p>
          <a:p>
            <a:pPr lvl="1"/>
            <a:r>
              <a:rPr lang="en-US" sz="2400" dirty="0"/>
              <a:t>Pair memory tech with compute architecture/hierarchy.</a:t>
            </a:r>
          </a:p>
          <a:p>
            <a:pPr lvl="1"/>
            <a:r>
              <a:rPr lang="en-US" sz="2400" dirty="0"/>
              <a:t>Software enabling to alleviate adoption barriers or to unlock value </a:t>
            </a:r>
          </a:p>
          <a:p>
            <a:pPr lvl="1"/>
            <a:r>
              <a:rPr lang="en-US" sz="2400" dirty="0"/>
              <a:t>Power/Thermal conscious: Energy of moving bits back and forth becoming limiting</a:t>
            </a:r>
          </a:p>
          <a:p>
            <a:pPr lvl="1"/>
            <a:r>
              <a:rPr lang="en-US" sz="2400" dirty="0"/>
              <a:t>Modular, Modular, Modular </a:t>
            </a:r>
            <a:endParaRPr lang="en-US" sz="2400" dirty="0">
              <a:sym typeface="Wingdings" pitchFamily="2" charset="2"/>
            </a:endParaRPr>
          </a:p>
          <a:p>
            <a:pPr lvl="1"/>
            <a:endParaRPr lang="en-US" sz="2400" dirty="0"/>
          </a:p>
        </p:txBody>
      </p:sp>
    </p:spTree>
    <p:extLst>
      <p:ext uri="{BB962C8B-B14F-4D97-AF65-F5344CB8AC3E}">
        <p14:creationId xmlns:p14="http://schemas.microsoft.com/office/powerpoint/2010/main" val="16387768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5B415-9BBD-9ACC-DAE6-4966218C1127}"/>
              </a:ext>
            </a:extLst>
          </p:cNvPr>
          <p:cNvSpPr>
            <a:spLocks noGrp="1"/>
          </p:cNvSpPr>
          <p:nvPr>
            <p:ph type="title"/>
          </p:nvPr>
        </p:nvSpPr>
        <p:spPr/>
        <p:txBody>
          <a:bodyPr/>
          <a:lstStyle/>
          <a:p>
            <a:r>
              <a:rPr lang="en-US" dirty="0"/>
              <a:t>Component (die) Attributes</a:t>
            </a:r>
          </a:p>
        </p:txBody>
      </p:sp>
      <p:graphicFrame>
        <p:nvGraphicFramePr>
          <p:cNvPr id="4" name="Table 3">
            <a:extLst>
              <a:ext uri="{FF2B5EF4-FFF2-40B4-BE49-F238E27FC236}">
                <a16:creationId xmlns:a16="http://schemas.microsoft.com/office/drawing/2014/main" id="{8F23F4FD-2CFF-D3E9-C328-97F6E0C6330A}"/>
              </a:ext>
            </a:extLst>
          </p:cNvPr>
          <p:cNvGraphicFramePr>
            <a:graphicFrameLocks noGrp="1"/>
          </p:cNvGraphicFramePr>
          <p:nvPr>
            <p:extLst>
              <p:ext uri="{D42A27DB-BD31-4B8C-83A1-F6EECF244321}">
                <p14:modId xmlns:p14="http://schemas.microsoft.com/office/powerpoint/2010/main" val="2890041455"/>
              </p:ext>
            </p:extLst>
          </p:nvPr>
        </p:nvGraphicFramePr>
        <p:xfrm>
          <a:off x="274319" y="1639938"/>
          <a:ext cx="11743513" cy="4174941"/>
        </p:xfrm>
        <a:graphic>
          <a:graphicData uri="http://schemas.openxmlformats.org/drawingml/2006/table">
            <a:tbl>
              <a:tblPr/>
              <a:tblGrid>
                <a:gridCol w="2501291">
                  <a:extLst>
                    <a:ext uri="{9D8B030D-6E8A-4147-A177-3AD203B41FA5}">
                      <a16:colId xmlns:a16="http://schemas.microsoft.com/office/drawing/2014/main" val="4098782986"/>
                    </a:ext>
                  </a:extLst>
                </a:gridCol>
                <a:gridCol w="840202">
                  <a:extLst>
                    <a:ext uri="{9D8B030D-6E8A-4147-A177-3AD203B41FA5}">
                      <a16:colId xmlns:a16="http://schemas.microsoft.com/office/drawing/2014/main" val="3011978532"/>
                    </a:ext>
                  </a:extLst>
                </a:gridCol>
                <a:gridCol w="840202">
                  <a:extLst>
                    <a:ext uri="{9D8B030D-6E8A-4147-A177-3AD203B41FA5}">
                      <a16:colId xmlns:a16="http://schemas.microsoft.com/office/drawing/2014/main" val="1985398658"/>
                    </a:ext>
                  </a:extLst>
                </a:gridCol>
                <a:gridCol w="840202">
                  <a:extLst>
                    <a:ext uri="{9D8B030D-6E8A-4147-A177-3AD203B41FA5}">
                      <a16:colId xmlns:a16="http://schemas.microsoft.com/office/drawing/2014/main" val="1775888709"/>
                    </a:ext>
                  </a:extLst>
                </a:gridCol>
                <a:gridCol w="840202">
                  <a:extLst>
                    <a:ext uri="{9D8B030D-6E8A-4147-A177-3AD203B41FA5}">
                      <a16:colId xmlns:a16="http://schemas.microsoft.com/office/drawing/2014/main" val="1274459055"/>
                    </a:ext>
                  </a:extLst>
                </a:gridCol>
                <a:gridCol w="840202">
                  <a:extLst>
                    <a:ext uri="{9D8B030D-6E8A-4147-A177-3AD203B41FA5}">
                      <a16:colId xmlns:a16="http://schemas.microsoft.com/office/drawing/2014/main" val="1685820368"/>
                    </a:ext>
                  </a:extLst>
                </a:gridCol>
                <a:gridCol w="840202">
                  <a:extLst>
                    <a:ext uri="{9D8B030D-6E8A-4147-A177-3AD203B41FA5}">
                      <a16:colId xmlns:a16="http://schemas.microsoft.com/office/drawing/2014/main" val="413114725"/>
                    </a:ext>
                  </a:extLst>
                </a:gridCol>
                <a:gridCol w="840202">
                  <a:extLst>
                    <a:ext uri="{9D8B030D-6E8A-4147-A177-3AD203B41FA5}">
                      <a16:colId xmlns:a16="http://schemas.microsoft.com/office/drawing/2014/main" val="3895701237"/>
                    </a:ext>
                  </a:extLst>
                </a:gridCol>
                <a:gridCol w="957239">
                  <a:extLst>
                    <a:ext uri="{9D8B030D-6E8A-4147-A177-3AD203B41FA5}">
                      <a16:colId xmlns:a16="http://schemas.microsoft.com/office/drawing/2014/main" val="989061836"/>
                    </a:ext>
                  </a:extLst>
                </a:gridCol>
                <a:gridCol w="940526">
                  <a:extLst>
                    <a:ext uri="{9D8B030D-6E8A-4147-A177-3AD203B41FA5}">
                      <a16:colId xmlns:a16="http://schemas.microsoft.com/office/drawing/2014/main" val="2976091227"/>
                    </a:ext>
                  </a:extLst>
                </a:gridCol>
                <a:gridCol w="757645">
                  <a:extLst>
                    <a:ext uri="{9D8B030D-6E8A-4147-A177-3AD203B41FA5}">
                      <a16:colId xmlns:a16="http://schemas.microsoft.com/office/drawing/2014/main" val="1109037333"/>
                    </a:ext>
                  </a:extLst>
                </a:gridCol>
                <a:gridCol w="705398">
                  <a:extLst>
                    <a:ext uri="{9D8B030D-6E8A-4147-A177-3AD203B41FA5}">
                      <a16:colId xmlns:a16="http://schemas.microsoft.com/office/drawing/2014/main" val="2211882152"/>
                    </a:ext>
                  </a:extLst>
                </a:gridCol>
              </a:tblGrid>
              <a:tr h="277703">
                <a:tc>
                  <a:txBody>
                    <a:bodyPr/>
                    <a:lstStyle/>
                    <a:p>
                      <a:pPr algn="l" fontAlgn="ctr"/>
                      <a:r>
                        <a:rPr lang="en-US" sz="1600" b="0"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en-US" sz="1600" b="1" i="0" u="none" strike="noStrike" dirty="0">
                          <a:solidFill>
                            <a:srgbClr val="000000"/>
                          </a:solidFill>
                          <a:effectLst/>
                          <a:latin typeface="Calibri" panose="020F0502020204030204" pitchFamily="34" charset="0"/>
                        </a:rPr>
                        <a:t>JEDEC Memory</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7">
                  <a:txBody>
                    <a:bodyPr/>
                    <a:lstStyle/>
                    <a:p>
                      <a:pPr algn="ctr" fontAlgn="ctr"/>
                      <a:r>
                        <a:rPr lang="en-US" sz="1600" b="1" i="0" u="none" strike="noStrike" dirty="0">
                          <a:solidFill>
                            <a:srgbClr val="000000"/>
                          </a:solidFill>
                          <a:effectLst/>
                          <a:latin typeface="Calibri" panose="020F0502020204030204" pitchFamily="34" charset="0"/>
                        </a:rPr>
                        <a:t>Custom In Package Memory</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48071547"/>
                  </a:ext>
                </a:extLst>
              </a:tr>
              <a:tr h="590118">
                <a:tc>
                  <a:txBody>
                    <a:bodyPr/>
                    <a:lstStyle/>
                    <a:p>
                      <a:pPr algn="ctr" fontAlgn="ctr"/>
                      <a:r>
                        <a:rPr lang="en-US" sz="1600" b="1" i="0" u="none" strike="noStrike">
                          <a:solidFill>
                            <a:srgbClr val="0E170E"/>
                          </a:solidFill>
                          <a:effectLst/>
                          <a:latin typeface="Calibri" panose="020F0502020204030204" pitchFamily="34" charset="0"/>
                        </a:rPr>
                        <a:t>Tech Attributes</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DDR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E170E"/>
                          </a:solidFill>
                          <a:effectLst/>
                          <a:latin typeface="Calibri" panose="020F0502020204030204" pitchFamily="34" charset="0"/>
                        </a:rPr>
                        <a:t>LPDDR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HBM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GDDR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P1271.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P1227.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E170E"/>
                          </a:solidFill>
                          <a:effectLst/>
                          <a:latin typeface="Calibri" panose="020F0502020204030204" pitchFamily="34" charset="0"/>
                        </a:rPr>
                        <a:t>Muddy Creek</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APM VHM</a:t>
                      </a:r>
                      <a:br>
                        <a:rPr lang="en-US" sz="1600" b="1" i="0" u="none" strike="noStrike">
                          <a:solidFill>
                            <a:srgbClr val="000000"/>
                          </a:solidFill>
                          <a:effectLst/>
                          <a:latin typeface="Calibri" panose="020F0502020204030204" pitchFamily="34" charset="0"/>
                        </a:rPr>
                      </a:br>
                      <a:r>
                        <a:rPr lang="en-US" sz="1600" b="1" i="0" u="none" strike="noStrike">
                          <a:solidFill>
                            <a:srgbClr val="000000"/>
                          </a:solidFill>
                          <a:effectLst/>
                          <a:latin typeface="Calibri" panose="020F0502020204030204" pitchFamily="34" charset="0"/>
                        </a:rPr>
                        <a:t>AI</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APM VHM Blockchain</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E170E"/>
                          </a:solidFill>
                          <a:effectLst/>
                          <a:latin typeface="Calibri" panose="020F0502020204030204" pitchFamily="34" charset="0"/>
                        </a:rPr>
                        <a:t>SKH TCCD</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E170E"/>
                          </a:solidFill>
                          <a:effectLst/>
                          <a:latin typeface="Calibri" panose="020F0502020204030204" pitchFamily="34" charset="0"/>
                        </a:rPr>
                        <a:t>SEC LLW</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extLst>
                  <a:ext uri="{0D108BD9-81ED-4DB2-BD59-A6C34878D82A}">
                    <a16:rowId xmlns:a16="http://schemas.microsoft.com/office/drawing/2014/main" val="169384951"/>
                  </a:ext>
                </a:extLst>
              </a:tr>
              <a:tr h="295059">
                <a:tc>
                  <a:txBody>
                    <a:bodyPr/>
                    <a:lstStyle/>
                    <a:p>
                      <a:pPr algn="l" fontAlgn="ctr"/>
                      <a:r>
                        <a:rPr lang="en-US" sz="1600" b="0" i="0" u="none" strike="noStrike">
                          <a:solidFill>
                            <a:srgbClr val="000000"/>
                          </a:solidFill>
                          <a:effectLst/>
                          <a:latin typeface="Calibri" panose="020F0502020204030204" pitchFamily="34" charset="0"/>
                        </a:rPr>
                        <a:t>Package Integration</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FC</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xDP WB</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2.xD</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xDP WB</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MCP</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2.5D/3D</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2.xD/3D</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3D HBI</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3D HBI</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3D HBI</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3D HBI</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090687140"/>
                  </a:ext>
                </a:extLst>
              </a:tr>
              <a:tr h="0">
                <a:tc>
                  <a:txBody>
                    <a:bodyPr/>
                    <a:lstStyle/>
                    <a:p>
                      <a:pPr algn="l" fontAlgn="ctr"/>
                      <a:r>
                        <a:rPr lang="en-US" sz="1600" b="0" i="0" u="none" strike="noStrike">
                          <a:solidFill>
                            <a:srgbClr val="000000"/>
                          </a:solidFill>
                          <a:effectLst/>
                          <a:latin typeface="Calibri" panose="020F0502020204030204" pitchFamily="34" charset="0"/>
                        </a:rPr>
                        <a:t>Silicon Technology @ NPI</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1z</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z</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1z</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z</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22nm</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22nm</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SF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30nm</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30nm</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1z</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1z</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08434454"/>
                  </a:ext>
                </a:extLst>
              </a:tr>
              <a:tr h="295059">
                <a:tc>
                  <a:txBody>
                    <a:bodyPr/>
                    <a:lstStyle/>
                    <a:p>
                      <a:pPr algn="l" fontAlgn="ctr"/>
                      <a:r>
                        <a:rPr lang="en-US" sz="1600" b="0" i="0" u="none" strike="noStrike">
                          <a:solidFill>
                            <a:srgbClr val="000000"/>
                          </a:solidFill>
                          <a:effectLst/>
                          <a:latin typeface="Calibri" panose="020F0502020204030204" pitchFamily="34" charset="0"/>
                        </a:rPr>
                        <a:t>Capacity (GB)</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0.12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0.2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0.5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4.3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023519403"/>
                  </a:ext>
                </a:extLst>
              </a:tr>
              <a:tr h="347129">
                <a:tc>
                  <a:txBody>
                    <a:bodyPr/>
                    <a:lstStyle/>
                    <a:p>
                      <a:pPr algn="l" fontAlgn="ctr"/>
                      <a:r>
                        <a:rPr lang="en-US" sz="1600" b="0" i="0" u="none" strike="noStrike">
                          <a:solidFill>
                            <a:srgbClr val="000000"/>
                          </a:solidFill>
                          <a:effectLst/>
                          <a:latin typeface="Calibri" panose="020F0502020204030204" pitchFamily="34" charset="0"/>
                        </a:rPr>
                        <a:t>Die Size (mm</a:t>
                      </a:r>
                      <a:r>
                        <a:rPr lang="en-US" sz="1600" b="0" i="0" u="none" strike="noStrike" baseline="30000">
                          <a:solidFill>
                            <a:srgbClr val="000000"/>
                          </a:solidFill>
                          <a:effectLst/>
                          <a:latin typeface="Calibri" panose="020F0502020204030204" pitchFamily="34" charset="0"/>
                        </a:rPr>
                        <a:t>2</a:t>
                      </a:r>
                      <a:r>
                        <a:rPr lang="en-US" sz="1600" b="0" i="0" u="none" strike="noStrike">
                          <a:solidFill>
                            <a:srgbClr val="000000"/>
                          </a:solidFill>
                          <a:effectLst/>
                          <a:latin typeface="Calibri" panose="020F0502020204030204" pitchFamily="34" charset="0"/>
                        </a:rPr>
                        <a:t>)</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12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5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12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2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7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5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9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6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29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2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967756493"/>
                  </a:ext>
                </a:extLst>
              </a:tr>
              <a:tr h="295059">
                <a:tc>
                  <a:txBody>
                    <a:bodyPr/>
                    <a:lstStyle/>
                    <a:p>
                      <a:pPr algn="l" fontAlgn="ctr"/>
                      <a:r>
                        <a:rPr lang="en-US" sz="1600" b="0" i="0" u="none" strike="noStrike">
                          <a:solidFill>
                            <a:srgbClr val="000000"/>
                          </a:solidFill>
                          <a:effectLst/>
                          <a:latin typeface="Calibri" panose="020F0502020204030204" pitchFamily="34" charset="0"/>
                        </a:rPr>
                        <a:t>Protocol (Cmd/addr/DQ)</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DDR</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LPDDR</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LP like</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GDDR</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F. Duple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LP Like</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dirty="0">
                          <a:solidFill>
                            <a:srgbClr val="000000"/>
                          </a:solidFill>
                          <a:effectLst/>
                          <a:latin typeface="Calibri" panose="020F0502020204030204" pitchFamily="34" charset="0"/>
                        </a:rPr>
                        <a:t>F. Duple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SDR</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SDR</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LP Like</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LP Like</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083512264"/>
                  </a:ext>
                </a:extLst>
              </a:tr>
              <a:tr h="295059">
                <a:tc>
                  <a:txBody>
                    <a:bodyPr/>
                    <a:lstStyle/>
                    <a:p>
                      <a:pPr algn="l" fontAlgn="ctr"/>
                      <a:r>
                        <a:rPr lang="en-US" sz="1600" b="0" i="0" u="none" strike="noStrike">
                          <a:solidFill>
                            <a:srgbClr val="000000"/>
                          </a:solidFill>
                          <a:effectLst/>
                          <a:latin typeface="Calibri" panose="020F0502020204030204" pitchFamily="34" charset="0"/>
                        </a:rPr>
                        <a:t># of Channel per die</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2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3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3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3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12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25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3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185883701"/>
                  </a:ext>
                </a:extLst>
              </a:tr>
              <a:tr h="295059">
                <a:tc>
                  <a:txBody>
                    <a:bodyPr/>
                    <a:lstStyle/>
                    <a:p>
                      <a:pPr algn="l" fontAlgn="ctr"/>
                      <a:r>
                        <a:rPr lang="en-US" sz="1600" b="0" i="0" u="none" strike="noStrike">
                          <a:solidFill>
                            <a:srgbClr val="000000"/>
                          </a:solidFill>
                          <a:effectLst/>
                          <a:latin typeface="Calibri" panose="020F0502020204030204" pitchFamily="34" charset="0"/>
                        </a:rPr>
                        <a:t>Max  DQ width</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25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3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2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638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638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384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720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3107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409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085496602"/>
                  </a:ext>
                </a:extLst>
              </a:tr>
              <a:tr h="295059">
                <a:tc>
                  <a:txBody>
                    <a:bodyPr/>
                    <a:lstStyle/>
                    <a:p>
                      <a:pPr algn="l" fontAlgn="ctr"/>
                      <a:r>
                        <a:rPr lang="en-US" sz="1600" b="0" i="0" u="none" strike="noStrike">
                          <a:solidFill>
                            <a:srgbClr val="000000"/>
                          </a:solidFill>
                          <a:effectLst/>
                          <a:latin typeface="Calibri" panose="020F0502020204030204" pitchFamily="34" charset="0"/>
                        </a:rPr>
                        <a:t>Max Data rate/pin (GT/s)</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8.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6.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2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6.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0.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0.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0.2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0" i="0" u="none" strike="noStrike">
                          <a:solidFill>
                            <a:srgbClr val="000000"/>
                          </a:solidFill>
                          <a:effectLst/>
                          <a:latin typeface="Calibri" panose="020F0502020204030204" pitchFamily="34" charset="0"/>
                        </a:rPr>
                        <a:t>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629475953"/>
                  </a:ext>
                </a:extLst>
              </a:tr>
              <a:tr h="295059">
                <a:tc>
                  <a:txBody>
                    <a:bodyPr/>
                    <a:lstStyle/>
                    <a:p>
                      <a:pPr algn="l" fontAlgn="ctr"/>
                      <a:r>
                        <a:rPr lang="en-US" sz="1600" b="0" i="0" u="none" strike="noStrike">
                          <a:solidFill>
                            <a:srgbClr val="000000"/>
                          </a:solidFill>
                          <a:effectLst/>
                          <a:latin typeface="Calibri" panose="020F0502020204030204" pitchFamily="34" charset="0"/>
                        </a:rPr>
                        <a:t>Theoretical max BW (GB/s)</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16.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2.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25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9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0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327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655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24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45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409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02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550095317"/>
                  </a:ext>
                </a:extLst>
              </a:tr>
              <a:tr h="347129">
                <a:tc>
                  <a:txBody>
                    <a:bodyPr/>
                    <a:lstStyle/>
                    <a:p>
                      <a:pPr algn="l" fontAlgn="ctr"/>
                      <a:r>
                        <a:rPr lang="en-US" sz="1600" b="0" i="0" u="none" strike="noStrike">
                          <a:solidFill>
                            <a:srgbClr val="000000"/>
                          </a:solidFill>
                          <a:effectLst/>
                          <a:latin typeface="Calibri" panose="020F0502020204030204" pitchFamily="34" charset="0"/>
                        </a:rPr>
                        <a:t>DQ Density (DQ/mm</a:t>
                      </a:r>
                      <a:r>
                        <a:rPr lang="en-US" sz="1600" b="0" i="0" u="none" strike="noStrike" baseline="30000">
                          <a:solidFill>
                            <a:srgbClr val="000000"/>
                          </a:solidFill>
                          <a:effectLst/>
                          <a:latin typeface="Calibri" panose="020F0502020204030204" pitchFamily="34" charset="0"/>
                        </a:rPr>
                        <a:t>2</a:t>
                      </a:r>
                      <a:r>
                        <a:rPr lang="en-US" sz="1600" b="0" i="0" u="none" strike="noStrike">
                          <a:solidFill>
                            <a:srgbClr val="000000"/>
                          </a:solidFill>
                          <a:effectLst/>
                          <a:latin typeface="Calibri" panose="020F0502020204030204" pitchFamily="34" charset="0"/>
                        </a:rPr>
                        <a:t>)</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0.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0.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8.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0.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107.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344.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384.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12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448.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33.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3086427188"/>
                  </a:ext>
                </a:extLst>
              </a:tr>
              <a:tr h="295059">
                <a:tc>
                  <a:txBody>
                    <a:bodyPr/>
                    <a:lstStyle/>
                    <a:p>
                      <a:pPr algn="l" fontAlgn="ctr"/>
                      <a:r>
                        <a:rPr lang="en-US" sz="1600" b="0" i="0" u="none" strike="noStrike" dirty="0">
                          <a:solidFill>
                            <a:srgbClr val="000000"/>
                          </a:solidFill>
                          <a:effectLst/>
                          <a:latin typeface="Calibri" panose="020F0502020204030204" pitchFamily="34" charset="0"/>
                        </a:rPr>
                        <a:t>Pin footprint (µm square/ pin)</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0"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6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4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3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6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a:solidFill>
                            <a:srgbClr val="000000"/>
                          </a:solidFill>
                          <a:effectLst/>
                          <a:latin typeface="Calibri" panose="020F0502020204030204" pitchFamily="34" charset="0"/>
                        </a:rPr>
                        <a:t>3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0" i="0" u="none" strike="noStrike" dirty="0">
                          <a:solidFill>
                            <a:srgbClr val="000000"/>
                          </a:solidFill>
                          <a:effectLst/>
                          <a:latin typeface="Calibri" panose="020F0502020204030204" pitchFamily="34" charset="0"/>
                        </a:rPr>
                        <a:t>12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2520986570"/>
                  </a:ext>
                </a:extLst>
              </a:tr>
            </a:tbl>
          </a:graphicData>
        </a:graphic>
      </p:graphicFrame>
    </p:spTree>
    <p:extLst>
      <p:ext uri="{BB962C8B-B14F-4D97-AF65-F5344CB8AC3E}">
        <p14:creationId xmlns:p14="http://schemas.microsoft.com/office/powerpoint/2010/main" val="28078813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038F50-A404-2B5A-A692-D9A4A69A4095}"/>
              </a:ext>
            </a:extLst>
          </p:cNvPr>
          <p:cNvPicPr>
            <a:picLocks noChangeAspect="1"/>
          </p:cNvPicPr>
          <p:nvPr/>
        </p:nvPicPr>
        <p:blipFill>
          <a:blip r:embed="rId2"/>
          <a:stretch>
            <a:fillRect/>
          </a:stretch>
        </p:blipFill>
        <p:spPr>
          <a:xfrm>
            <a:off x="766796" y="374660"/>
            <a:ext cx="10658407" cy="6106824"/>
          </a:xfrm>
          <a:prstGeom prst="rect">
            <a:avLst/>
          </a:prstGeom>
        </p:spPr>
      </p:pic>
    </p:spTree>
    <p:extLst>
      <p:ext uri="{BB962C8B-B14F-4D97-AF65-F5344CB8AC3E}">
        <p14:creationId xmlns:p14="http://schemas.microsoft.com/office/powerpoint/2010/main" val="36719322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80785-D8A3-ED69-732F-AC97797DD83A}"/>
              </a:ext>
            </a:extLst>
          </p:cNvPr>
          <p:cNvSpPr>
            <a:spLocks noGrp="1"/>
          </p:cNvSpPr>
          <p:nvPr>
            <p:ph type="title"/>
          </p:nvPr>
        </p:nvSpPr>
        <p:spPr/>
        <p:txBody>
          <a:bodyPr/>
          <a:lstStyle/>
          <a:p>
            <a:r>
              <a:rPr lang="en-US" sz="3600" dirty="0"/>
              <a:t>Normalized Performance</a:t>
            </a:r>
          </a:p>
        </p:txBody>
      </p:sp>
      <p:graphicFrame>
        <p:nvGraphicFramePr>
          <p:cNvPr id="5" name="Table 4">
            <a:extLst>
              <a:ext uri="{FF2B5EF4-FFF2-40B4-BE49-F238E27FC236}">
                <a16:creationId xmlns:a16="http://schemas.microsoft.com/office/drawing/2014/main" id="{D74EB00B-3A32-7397-F250-2DBE3C96645A}"/>
              </a:ext>
            </a:extLst>
          </p:cNvPr>
          <p:cNvGraphicFramePr>
            <a:graphicFrameLocks noGrp="1"/>
          </p:cNvGraphicFramePr>
          <p:nvPr>
            <p:extLst>
              <p:ext uri="{D42A27DB-BD31-4B8C-83A1-F6EECF244321}">
                <p14:modId xmlns:p14="http://schemas.microsoft.com/office/powerpoint/2010/main" val="392209290"/>
              </p:ext>
            </p:extLst>
          </p:nvPr>
        </p:nvGraphicFramePr>
        <p:xfrm>
          <a:off x="191588" y="990600"/>
          <a:ext cx="11808823" cy="2262960"/>
        </p:xfrm>
        <a:graphic>
          <a:graphicData uri="http://schemas.openxmlformats.org/drawingml/2006/table">
            <a:tbl>
              <a:tblPr/>
              <a:tblGrid>
                <a:gridCol w="2465120">
                  <a:extLst>
                    <a:ext uri="{9D8B030D-6E8A-4147-A177-3AD203B41FA5}">
                      <a16:colId xmlns:a16="http://schemas.microsoft.com/office/drawing/2014/main" val="3803284541"/>
                    </a:ext>
                  </a:extLst>
                </a:gridCol>
                <a:gridCol w="828052">
                  <a:extLst>
                    <a:ext uri="{9D8B030D-6E8A-4147-A177-3AD203B41FA5}">
                      <a16:colId xmlns:a16="http://schemas.microsoft.com/office/drawing/2014/main" val="1578992214"/>
                    </a:ext>
                  </a:extLst>
                </a:gridCol>
                <a:gridCol w="828052">
                  <a:extLst>
                    <a:ext uri="{9D8B030D-6E8A-4147-A177-3AD203B41FA5}">
                      <a16:colId xmlns:a16="http://schemas.microsoft.com/office/drawing/2014/main" val="1798331565"/>
                    </a:ext>
                  </a:extLst>
                </a:gridCol>
                <a:gridCol w="828052">
                  <a:extLst>
                    <a:ext uri="{9D8B030D-6E8A-4147-A177-3AD203B41FA5}">
                      <a16:colId xmlns:a16="http://schemas.microsoft.com/office/drawing/2014/main" val="981625414"/>
                    </a:ext>
                  </a:extLst>
                </a:gridCol>
                <a:gridCol w="828052">
                  <a:extLst>
                    <a:ext uri="{9D8B030D-6E8A-4147-A177-3AD203B41FA5}">
                      <a16:colId xmlns:a16="http://schemas.microsoft.com/office/drawing/2014/main" val="1431461938"/>
                    </a:ext>
                  </a:extLst>
                </a:gridCol>
                <a:gridCol w="828052">
                  <a:extLst>
                    <a:ext uri="{9D8B030D-6E8A-4147-A177-3AD203B41FA5}">
                      <a16:colId xmlns:a16="http://schemas.microsoft.com/office/drawing/2014/main" val="1196313054"/>
                    </a:ext>
                  </a:extLst>
                </a:gridCol>
                <a:gridCol w="828052">
                  <a:extLst>
                    <a:ext uri="{9D8B030D-6E8A-4147-A177-3AD203B41FA5}">
                      <a16:colId xmlns:a16="http://schemas.microsoft.com/office/drawing/2014/main" val="1422296915"/>
                    </a:ext>
                  </a:extLst>
                </a:gridCol>
                <a:gridCol w="828052">
                  <a:extLst>
                    <a:ext uri="{9D8B030D-6E8A-4147-A177-3AD203B41FA5}">
                      <a16:colId xmlns:a16="http://schemas.microsoft.com/office/drawing/2014/main" val="74818436"/>
                    </a:ext>
                  </a:extLst>
                </a:gridCol>
                <a:gridCol w="987019">
                  <a:extLst>
                    <a:ext uri="{9D8B030D-6E8A-4147-A177-3AD203B41FA5}">
                      <a16:colId xmlns:a16="http://schemas.microsoft.com/office/drawing/2014/main" val="4286878927"/>
                    </a:ext>
                  </a:extLst>
                </a:gridCol>
                <a:gridCol w="1101635">
                  <a:extLst>
                    <a:ext uri="{9D8B030D-6E8A-4147-A177-3AD203B41FA5}">
                      <a16:colId xmlns:a16="http://schemas.microsoft.com/office/drawing/2014/main" val="557535643"/>
                    </a:ext>
                  </a:extLst>
                </a:gridCol>
                <a:gridCol w="822960">
                  <a:extLst>
                    <a:ext uri="{9D8B030D-6E8A-4147-A177-3AD203B41FA5}">
                      <a16:colId xmlns:a16="http://schemas.microsoft.com/office/drawing/2014/main" val="1148725564"/>
                    </a:ext>
                  </a:extLst>
                </a:gridCol>
                <a:gridCol w="635725">
                  <a:extLst>
                    <a:ext uri="{9D8B030D-6E8A-4147-A177-3AD203B41FA5}">
                      <a16:colId xmlns:a16="http://schemas.microsoft.com/office/drawing/2014/main" val="4210532911"/>
                    </a:ext>
                  </a:extLst>
                </a:gridCol>
              </a:tblGrid>
              <a:tr h="47569">
                <a:tc>
                  <a:txBody>
                    <a:bodyPr/>
                    <a:lstStyle/>
                    <a:p>
                      <a:pPr algn="l" fontAlgn="ctr"/>
                      <a:r>
                        <a:rPr lang="en-US" sz="1600" b="0"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en-US" sz="1600" b="1" i="0" u="none" strike="noStrike" dirty="0">
                          <a:solidFill>
                            <a:srgbClr val="000000"/>
                          </a:solidFill>
                          <a:effectLst/>
                          <a:latin typeface="Calibri" panose="020F0502020204030204" pitchFamily="34" charset="0"/>
                        </a:rPr>
                        <a:t>JEDEC Memory</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7">
                  <a:txBody>
                    <a:bodyPr/>
                    <a:lstStyle/>
                    <a:p>
                      <a:pPr algn="ctr" fontAlgn="ctr"/>
                      <a:r>
                        <a:rPr lang="en-US" sz="1600" b="1" i="0" u="none" strike="noStrike" dirty="0">
                          <a:solidFill>
                            <a:srgbClr val="000000"/>
                          </a:solidFill>
                          <a:effectLst/>
                          <a:latin typeface="Calibri" panose="020F0502020204030204" pitchFamily="34" charset="0"/>
                        </a:rPr>
                        <a:t>Custom In Package Memory</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26024642"/>
                  </a:ext>
                </a:extLst>
              </a:tr>
              <a:tr h="121044">
                <a:tc>
                  <a:txBody>
                    <a:bodyPr/>
                    <a:lstStyle/>
                    <a:p>
                      <a:pPr algn="ctr" fontAlgn="ctr"/>
                      <a:r>
                        <a:rPr lang="en-US" sz="1600" b="1"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DDR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LPDDR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HBM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GDDR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P1271.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P1227.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Muddy Creek</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APM VHM</a:t>
                      </a:r>
                      <a:br>
                        <a:rPr lang="en-US" sz="1600" b="1" i="0" u="none" strike="noStrike">
                          <a:solidFill>
                            <a:srgbClr val="000000"/>
                          </a:solidFill>
                          <a:effectLst/>
                          <a:latin typeface="Calibri" panose="020F0502020204030204" pitchFamily="34" charset="0"/>
                        </a:rPr>
                      </a:br>
                      <a:r>
                        <a:rPr lang="en-US" sz="1600" b="1" i="0" u="none" strike="noStrike">
                          <a:solidFill>
                            <a:srgbClr val="000000"/>
                          </a:solidFill>
                          <a:effectLst/>
                          <a:latin typeface="Calibri" panose="020F0502020204030204" pitchFamily="34" charset="0"/>
                        </a:rPr>
                        <a:t>AI</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APM VHM Blockchain</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SKH TCCD</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SEC LLW</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extLst>
                  <a:ext uri="{0D108BD9-81ED-4DB2-BD59-A6C34878D82A}">
                    <a16:rowId xmlns:a16="http://schemas.microsoft.com/office/drawing/2014/main" val="2071772815"/>
                  </a:ext>
                </a:extLst>
              </a:tr>
              <a:tr h="47569">
                <a:tc>
                  <a:txBody>
                    <a:bodyPr/>
                    <a:lstStyle/>
                    <a:p>
                      <a:pPr algn="l" fontAlgn="ctr"/>
                      <a:r>
                        <a:rPr lang="en-US" sz="1600" b="1" i="0" u="none" strike="noStrike" dirty="0">
                          <a:solidFill>
                            <a:srgbClr val="000000"/>
                          </a:solidFill>
                          <a:effectLst/>
                          <a:latin typeface="Calibri" panose="020F0502020204030204" pitchFamily="34" charset="0"/>
                        </a:rPr>
                        <a:t>Density (MB/mm</a:t>
                      </a:r>
                      <a:r>
                        <a:rPr lang="en-US" sz="1600" b="1" i="0" u="none" strike="noStrike" baseline="30000" dirty="0">
                          <a:solidFill>
                            <a:srgbClr val="000000"/>
                          </a:solidFill>
                          <a:effectLst/>
                          <a:latin typeface="Calibri" panose="020F0502020204030204" pitchFamily="34" charset="0"/>
                        </a:rPr>
                        <a:t>2</a:t>
                      </a:r>
                      <a:r>
                        <a:rPr lang="en-US" sz="1600" b="1" i="0" u="none" strike="noStrike" dirty="0">
                          <a:solidFill>
                            <a:srgbClr val="000000"/>
                          </a:solidFill>
                          <a:effectLst/>
                          <a:latin typeface="Calibri" panose="020F0502020204030204" pitchFamily="34" charset="0"/>
                        </a:rPr>
                        <a:t>)</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34.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5.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6.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6.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6.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2.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6.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7.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dirty="0">
                          <a:solidFill>
                            <a:srgbClr val="000000"/>
                          </a:solidFill>
                          <a:effectLst/>
                          <a:latin typeface="Calibri" panose="020F0502020204030204" pitchFamily="34" charset="0"/>
                        </a:rPr>
                        <a:t>8.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20108433"/>
                  </a:ext>
                </a:extLst>
              </a:tr>
              <a:tr h="47569">
                <a:tc>
                  <a:txBody>
                    <a:bodyPr/>
                    <a:lstStyle/>
                    <a:p>
                      <a:pPr algn="l" fontAlgn="ctr"/>
                      <a:r>
                        <a:rPr lang="en-US" sz="1600" b="1" i="0" u="none" strike="noStrike">
                          <a:solidFill>
                            <a:srgbClr val="000000"/>
                          </a:solidFill>
                          <a:effectLst/>
                          <a:latin typeface="Calibri" panose="020F0502020204030204" pitchFamily="34" charset="0"/>
                        </a:rPr>
                        <a:t>BW/Capacity (BW/GB)</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4.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6.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2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4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81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27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2621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409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2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2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2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2944117675"/>
                  </a:ext>
                </a:extLst>
              </a:tr>
              <a:tr h="61048">
                <a:tc>
                  <a:txBody>
                    <a:bodyPr/>
                    <a:lstStyle/>
                    <a:p>
                      <a:pPr algn="l" fontAlgn="ctr"/>
                      <a:r>
                        <a:rPr lang="en-US" sz="1600" b="1" i="0" u="none" strike="noStrike">
                          <a:solidFill>
                            <a:srgbClr val="000000"/>
                          </a:solidFill>
                          <a:effectLst/>
                          <a:latin typeface="Calibri" panose="020F0502020204030204" pitchFamily="34" charset="0"/>
                        </a:rPr>
                        <a:t>BW/ Density ([GB/s]/mm</a:t>
                      </a:r>
                      <a:r>
                        <a:rPr lang="en-US" sz="1600" b="1" i="0" u="none" strike="noStrike" baseline="30000">
                          <a:solidFill>
                            <a:srgbClr val="000000"/>
                          </a:solidFill>
                          <a:effectLst/>
                          <a:latin typeface="Calibri" panose="020F0502020204030204" pitchFamily="34" charset="0"/>
                        </a:rPr>
                        <a:t>2</a:t>
                      </a:r>
                      <a:r>
                        <a:rPr lang="en-US" sz="1600" b="1" i="0" u="none" strike="noStrike">
                          <a:solidFill>
                            <a:srgbClr val="000000"/>
                          </a:solidFill>
                          <a:effectLst/>
                          <a:latin typeface="Calibri" panose="020F0502020204030204" pitchFamily="34" charset="0"/>
                        </a:rPr>
                        <a:t>)</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0.14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22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2.1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7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3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21.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69.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24.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7.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4.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8.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847920374"/>
                  </a:ext>
                </a:extLst>
              </a:tr>
              <a:tr h="61048">
                <a:tc>
                  <a:txBody>
                    <a:bodyPr/>
                    <a:lstStyle/>
                    <a:p>
                      <a:pPr algn="l" fontAlgn="ctr"/>
                      <a:r>
                        <a:rPr lang="en-US" sz="1600" b="1" i="0" u="none" strike="noStrike">
                          <a:solidFill>
                            <a:srgbClr val="000000"/>
                          </a:solidFill>
                          <a:effectLst/>
                          <a:latin typeface="Calibri" panose="020F0502020204030204" pitchFamily="34" charset="0"/>
                        </a:rPr>
                        <a:t>Random Access Latency (ns)</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3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3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3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344561910"/>
                  </a:ext>
                </a:extLst>
              </a:tr>
              <a:tr h="47569">
                <a:tc>
                  <a:txBody>
                    <a:bodyPr/>
                    <a:lstStyle/>
                    <a:p>
                      <a:pPr algn="l" fontAlgn="ctr"/>
                      <a:r>
                        <a:rPr lang="en-US" sz="1600" b="1" i="0" u="none" strike="noStrike">
                          <a:solidFill>
                            <a:srgbClr val="000000"/>
                          </a:solidFill>
                          <a:effectLst/>
                          <a:latin typeface="Calibri" panose="020F0502020204030204" pitchFamily="34" charset="0"/>
                        </a:rPr>
                        <a:t>Access Energy (pJ/b)</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3.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0.2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0.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0.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0.9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769911792"/>
                  </a:ext>
                </a:extLst>
              </a:tr>
              <a:tr h="61048">
                <a:tc>
                  <a:txBody>
                    <a:bodyPr/>
                    <a:lstStyle/>
                    <a:p>
                      <a:pPr algn="l" fontAlgn="ctr"/>
                      <a:r>
                        <a:rPr lang="en-US" sz="1600" b="1" i="0" u="none" strike="noStrike">
                          <a:solidFill>
                            <a:srgbClr val="000000"/>
                          </a:solidFill>
                          <a:effectLst/>
                          <a:latin typeface="Calibri" panose="020F0502020204030204" pitchFamily="34" charset="0"/>
                        </a:rPr>
                        <a:t>Power Density (mW/mm</a:t>
                      </a:r>
                      <a:r>
                        <a:rPr lang="en-US" sz="1600" b="1" i="0" u="none" strike="noStrike" baseline="30000">
                          <a:solidFill>
                            <a:srgbClr val="000000"/>
                          </a:solidFill>
                          <a:effectLst/>
                          <a:latin typeface="Calibri" panose="020F0502020204030204" pitchFamily="34" charset="0"/>
                        </a:rPr>
                        <a:t>2</a:t>
                      </a:r>
                      <a:r>
                        <a:rPr lang="en-US" sz="1600" b="1" i="0" u="none" strike="noStrike">
                          <a:solidFill>
                            <a:srgbClr val="000000"/>
                          </a:solidFill>
                          <a:effectLst/>
                          <a:latin typeface="Calibri" panose="020F0502020204030204" pitchFamily="34" charset="0"/>
                        </a:rPr>
                        <a:t>)</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17.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8.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250.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5.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37.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26.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96.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42.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7.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0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3438567503"/>
                  </a:ext>
                </a:extLst>
              </a:tr>
            </a:tbl>
          </a:graphicData>
        </a:graphic>
      </p:graphicFrame>
      <p:sp>
        <p:nvSpPr>
          <p:cNvPr id="3" name="Title 1">
            <a:extLst>
              <a:ext uri="{FF2B5EF4-FFF2-40B4-BE49-F238E27FC236}">
                <a16:creationId xmlns:a16="http://schemas.microsoft.com/office/drawing/2014/main" id="{37FC7A02-5841-56D4-4189-15D2F564CEA9}"/>
              </a:ext>
            </a:extLst>
          </p:cNvPr>
          <p:cNvSpPr txBox="1">
            <a:spLocks/>
          </p:cNvSpPr>
          <p:nvPr/>
        </p:nvSpPr>
        <p:spPr bwMode="auto">
          <a:xfrm>
            <a:off x="914400" y="3382549"/>
            <a:ext cx="10363200" cy="838200"/>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4847" b="1">
                <a:solidFill>
                  <a:schemeClr val="accent2"/>
                </a:solidFill>
                <a:latin typeface="Calibri" pitchFamily="34" charset="0"/>
                <a:ea typeface="+mj-ea"/>
                <a:cs typeface="Calibri" pitchFamily="34" charset="0"/>
              </a:defRPr>
            </a:lvl1pPr>
            <a:lvl2pPr algn="ctr" rtl="0" eaLnBrk="1" fontAlgn="base" hangingPunct="1">
              <a:spcBef>
                <a:spcPct val="0"/>
              </a:spcBef>
              <a:spcAft>
                <a:spcPct val="0"/>
              </a:spcAft>
              <a:defRPr sz="4847" b="1">
                <a:solidFill>
                  <a:schemeClr val="accent2"/>
                </a:solidFill>
                <a:latin typeface="Neo Sans Intel Medium" pitchFamily="34" charset="0"/>
              </a:defRPr>
            </a:lvl2pPr>
            <a:lvl3pPr algn="ctr" rtl="0" eaLnBrk="1" fontAlgn="base" hangingPunct="1">
              <a:spcBef>
                <a:spcPct val="0"/>
              </a:spcBef>
              <a:spcAft>
                <a:spcPct val="0"/>
              </a:spcAft>
              <a:defRPr sz="4847" b="1">
                <a:solidFill>
                  <a:schemeClr val="accent2"/>
                </a:solidFill>
                <a:latin typeface="Neo Sans Intel Medium" pitchFamily="34" charset="0"/>
              </a:defRPr>
            </a:lvl3pPr>
            <a:lvl4pPr algn="ctr" rtl="0" eaLnBrk="1" fontAlgn="base" hangingPunct="1">
              <a:spcBef>
                <a:spcPct val="0"/>
              </a:spcBef>
              <a:spcAft>
                <a:spcPct val="0"/>
              </a:spcAft>
              <a:defRPr sz="4847" b="1">
                <a:solidFill>
                  <a:schemeClr val="accent2"/>
                </a:solidFill>
                <a:latin typeface="Neo Sans Intel Medium" pitchFamily="34" charset="0"/>
              </a:defRPr>
            </a:lvl4pPr>
            <a:lvl5pPr algn="ctr" rtl="0" eaLnBrk="1" fontAlgn="base" hangingPunct="1">
              <a:spcBef>
                <a:spcPct val="0"/>
              </a:spcBef>
              <a:spcAft>
                <a:spcPct val="0"/>
              </a:spcAft>
              <a:defRPr sz="4847" b="1">
                <a:solidFill>
                  <a:schemeClr val="accent2"/>
                </a:solidFill>
                <a:latin typeface="Neo Sans Intel Medium" pitchFamily="34" charset="0"/>
              </a:defRPr>
            </a:lvl5pPr>
            <a:lvl6pPr marL="554035" algn="ctr" rtl="0" eaLnBrk="1" fontAlgn="base" hangingPunct="1">
              <a:spcBef>
                <a:spcPct val="0"/>
              </a:spcBef>
              <a:spcAft>
                <a:spcPct val="0"/>
              </a:spcAft>
              <a:defRPr sz="4847" b="1">
                <a:solidFill>
                  <a:schemeClr val="accent2"/>
                </a:solidFill>
                <a:latin typeface="Neo Sans Intel Medium" pitchFamily="34" charset="0"/>
              </a:defRPr>
            </a:lvl6pPr>
            <a:lvl7pPr marL="1108070" algn="ctr" rtl="0" eaLnBrk="1" fontAlgn="base" hangingPunct="1">
              <a:spcBef>
                <a:spcPct val="0"/>
              </a:spcBef>
              <a:spcAft>
                <a:spcPct val="0"/>
              </a:spcAft>
              <a:defRPr sz="4847" b="1">
                <a:solidFill>
                  <a:schemeClr val="accent2"/>
                </a:solidFill>
                <a:latin typeface="Neo Sans Intel Medium" pitchFamily="34" charset="0"/>
              </a:defRPr>
            </a:lvl7pPr>
            <a:lvl8pPr marL="1662105" algn="ctr" rtl="0" eaLnBrk="1" fontAlgn="base" hangingPunct="1">
              <a:spcBef>
                <a:spcPct val="0"/>
              </a:spcBef>
              <a:spcAft>
                <a:spcPct val="0"/>
              </a:spcAft>
              <a:defRPr sz="4847" b="1">
                <a:solidFill>
                  <a:schemeClr val="accent2"/>
                </a:solidFill>
                <a:latin typeface="Neo Sans Intel Medium" pitchFamily="34" charset="0"/>
              </a:defRPr>
            </a:lvl8pPr>
            <a:lvl9pPr marL="2216140" algn="ctr" rtl="0" eaLnBrk="1" fontAlgn="base" hangingPunct="1">
              <a:spcBef>
                <a:spcPct val="0"/>
              </a:spcBef>
              <a:spcAft>
                <a:spcPct val="0"/>
              </a:spcAft>
              <a:defRPr sz="4847" b="1">
                <a:solidFill>
                  <a:schemeClr val="accent2"/>
                </a:solidFill>
                <a:latin typeface="Neo Sans Intel Medium" pitchFamily="34" charset="0"/>
              </a:defRPr>
            </a:lvl9pPr>
          </a:lstStyle>
          <a:p>
            <a:pPr defTabSz="914400"/>
            <a:r>
              <a:rPr lang="en-US" sz="3600" kern="0" dirty="0"/>
              <a:t>Performance of a 100mm</a:t>
            </a:r>
            <a:r>
              <a:rPr lang="en-US" sz="3600" kern="0" baseline="30000" dirty="0"/>
              <a:t>2</a:t>
            </a:r>
            <a:r>
              <a:rPr lang="en-US" sz="3600" kern="0" dirty="0"/>
              <a:t> die</a:t>
            </a:r>
          </a:p>
        </p:txBody>
      </p:sp>
      <p:graphicFrame>
        <p:nvGraphicFramePr>
          <p:cNvPr id="6" name="Table 5">
            <a:extLst>
              <a:ext uri="{FF2B5EF4-FFF2-40B4-BE49-F238E27FC236}">
                <a16:creationId xmlns:a16="http://schemas.microsoft.com/office/drawing/2014/main" id="{AF045575-13CD-C2D6-711F-6B0FFF4AA892}"/>
              </a:ext>
            </a:extLst>
          </p:cNvPr>
          <p:cNvGraphicFramePr>
            <a:graphicFrameLocks noGrp="1"/>
          </p:cNvGraphicFramePr>
          <p:nvPr>
            <p:extLst>
              <p:ext uri="{D42A27DB-BD31-4B8C-83A1-F6EECF244321}">
                <p14:modId xmlns:p14="http://schemas.microsoft.com/office/powerpoint/2010/main" val="1991294347"/>
              </p:ext>
            </p:extLst>
          </p:nvPr>
        </p:nvGraphicFramePr>
        <p:xfrm>
          <a:off x="191588" y="4091760"/>
          <a:ext cx="11808829" cy="2010570"/>
        </p:xfrm>
        <a:graphic>
          <a:graphicData uri="http://schemas.openxmlformats.org/drawingml/2006/table">
            <a:tbl>
              <a:tblPr/>
              <a:tblGrid>
                <a:gridCol w="2444036">
                  <a:extLst>
                    <a:ext uri="{9D8B030D-6E8A-4147-A177-3AD203B41FA5}">
                      <a16:colId xmlns:a16="http://schemas.microsoft.com/office/drawing/2014/main" val="2806431513"/>
                    </a:ext>
                  </a:extLst>
                </a:gridCol>
                <a:gridCol w="833718">
                  <a:extLst>
                    <a:ext uri="{9D8B030D-6E8A-4147-A177-3AD203B41FA5}">
                      <a16:colId xmlns:a16="http://schemas.microsoft.com/office/drawing/2014/main" val="2267551801"/>
                    </a:ext>
                  </a:extLst>
                </a:gridCol>
                <a:gridCol w="833718">
                  <a:extLst>
                    <a:ext uri="{9D8B030D-6E8A-4147-A177-3AD203B41FA5}">
                      <a16:colId xmlns:a16="http://schemas.microsoft.com/office/drawing/2014/main" val="2803899447"/>
                    </a:ext>
                  </a:extLst>
                </a:gridCol>
                <a:gridCol w="833718">
                  <a:extLst>
                    <a:ext uri="{9D8B030D-6E8A-4147-A177-3AD203B41FA5}">
                      <a16:colId xmlns:a16="http://schemas.microsoft.com/office/drawing/2014/main" val="392406256"/>
                    </a:ext>
                  </a:extLst>
                </a:gridCol>
                <a:gridCol w="833718">
                  <a:extLst>
                    <a:ext uri="{9D8B030D-6E8A-4147-A177-3AD203B41FA5}">
                      <a16:colId xmlns:a16="http://schemas.microsoft.com/office/drawing/2014/main" val="1822592706"/>
                    </a:ext>
                  </a:extLst>
                </a:gridCol>
                <a:gridCol w="817579">
                  <a:extLst>
                    <a:ext uri="{9D8B030D-6E8A-4147-A177-3AD203B41FA5}">
                      <a16:colId xmlns:a16="http://schemas.microsoft.com/office/drawing/2014/main" val="1866595435"/>
                    </a:ext>
                  </a:extLst>
                </a:gridCol>
                <a:gridCol w="839097">
                  <a:extLst>
                    <a:ext uri="{9D8B030D-6E8A-4147-A177-3AD203B41FA5}">
                      <a16:colId xmlns:a16="http://schemas.microsoft.com/office/drawing/2014/main" val="4201333126"/>
                    </a:ext>
                  </a:extLst>
                </a:gridCol>
                <a:gridCol w="860612">
                  <a:extLst>
                    <a:ext uri="{9D8B030D-6E8A-4147-A177-3AD203B41FA5}">
                      <a16:colId xmlns:a16="http://schemas.microsoft.com/office/drawing/2014/main" val="3941816911"/>
                    </a:ext>
                  </a:extLst>
                </a:gridCol>
                <a:gridCol w="978008">
                  <a:extLst>
                    <a:ext uri="{9D8B030D-6E8A-4147-A177-3AD203B41FA5}">
                      <a16:colId xmlns:a16="http://schemas.microsoft.com/office/drawing/2014/main" val="3002575922"/>
                    </a:ext>
                  </a:extLst>
                </a:gridCol>
                <a:gridCol w="1098219">
                  <a:extLst>
                    <a:ext uri="{9D8B030D-6E8A-4147-A177-3AD203B41FA5}">
                      <a16:colId xmlns:a16="http://schemas.microsoft.com/office/drawing/2014/main" val="82672541"/>
                    </a:ext>
                  </a:extLst>
                </a:gridCol>
                <a:gridCol w="731520">
                  <a:extLst>
                    <a:ext uri="{9D8B030D-6E8A-4147-A177-3AD203B41FA5}">
                      <a16:colId xmlns:a16="http://schemas.microsoft.com/office/drawing/2014/main" val="1450213426"/>
                    </a:ext>
                  </a:extLst>
                </a:gridCol>
                <a:gridCol w="704886">
                  <a:extLst>
                    <a:ext uri="{9D8B030D-6E8A-4147-A177-3AD203B41FA5}">
                      <a16:colId xmlns:a16="http://schemas.microsoft.com/office/drawing/2014/main" val="3928797265"/>
                    </a:ext>
                  </a:extLst>
                </a:gridCol>
              </a:tblGrid>
              <a:tr h="0">
                <a:tc>
                  <a:txBody>
                    <a:bodyPr/>
                    <a:lstStyle/>
                    <a:p>
                      <a:pPr algn="l" fontAlgn="ctr"/>
                      <a:r>
                        <a:rPr lang="en-US" sz="1600" b="0"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en-US" sz="1600" b="1" i="0" u="none" strike="noStrike" dirty="0">
                          <a:solidFill>
                            <a:srgbClr val="000000"/>
                          </a:solidFill>
                          <a:effectLst/>
                          <a:latin typeface="Calibri" panose="020F0502020204030204" pitchFamily="34" charset="0"/>
                        </a:rPr>
                        <a:t>JEDEC Memory</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7">
                  <a:txBody>
                    <a:bodyPr/>
                    <a:lstStyle/>
                    <a:p>
                      <a:pPr algn="ctr" fontAlgn="ctr"/>
                      <a:r>
                        <a:rPr lang="en-US" sz="1600" b="1" i="0" u="none" strike="noStrike" dirty="0">
                          <a:solidFill>
                            <a:srgbClr val="000000"/>
                          </a:solidFill>
                          <a:effectLst/>
                          <a:latin typeface="Calibri" panose="020F0502020204030204" pitchFamily="34" charset="0"/>
                        </a:rPr>
                        <a:t>Custom In Package Memory</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47485957"/>
                  </a:ext>
                </a:extLst>
              </a:tr>
              <a:tr h="75132">
                <a:tc>
                  <a:txBody>
                    <a:bodyPr/>
                    <a:lstStyle/>
                    <a:p>
                      <a:pPr algn="ctr" fontAlgn="ctr"/>
                      <a:endParaRPr lang="en-US" sz="1600" b="1" i="0" u="none" strike="noStrike" dirty="0">
                        <a:solidFill>
                          <a:srgbClr val="000000"/>
                        </a:solidFill>
                        <a:effectLst/>
                        <a:latin typeface="Calibri" panose="020F0502020204030204" pitchFamily="34" charset="0"/>
                      </a:endParaRP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DDR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LPDDR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HBM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GDDR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P1271.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P1227.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Muddy Creek</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APM VHM</a:t>
                      </a:r>
                      <a:br>
                        <a:rPr lang="en-US" sz="1600" b="1" i="0" u="none" strike="noStrike">
                          <a:solidFill>
                            <a:srgbClr val="000000"/>
                          </a:solidFill>
                          <a:effectLst/>
                          <a:latin typeface="Calibri" panose="020F0502020204030204" pitchFamily="34" charset="0"/>
                        </a:rPr>
                      </a:br>
                      <a:r>
                        <a:rPr lang="en-US" sz="1600" b="1" i="0" u="none" strike="noStrike">
                          <a:solidFill>
                            <a:srgbClr val="000000"/>
                          </a:solidFill>
                          <a:effectLst/>
                          <a:latin typeface="Calibri" panose="020F0502020204030204" pitchFamily="34" charset="0"/>
                        </a:rPr>
                        <a:t>AI</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APM VHM Blockchain</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SKH TCCD</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SEC LLW</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extLst>
                  <a:ext uri="{0D108BD9-81ED-4DB2-BD59-A6C34878D82A}">
                    <a16:rowId xmlns:a16="http://schemas.microsoft.com/office/drawing/2014/main" val="2786155266"/>
                  </a:ext>
                </a:extLst>
              </a:tr>
              <a:tr h="0">
                <a:tc>
                  <a:txBody>
                    <a:bodyPr/>
                    <a:lstStyle/>
                    <a:p>
                      <a:pPr algn="l" fontAlgn="ctr"/>
                      <a:r>
                        <a:rPr lang="en-US" sz="1600" b="1" i="0" u="none" strike="noStrike">
                          <a:solidFill>
                            <a:srgbClr val="000000"/>
                          </a:solidFill>
                          <a:effectLst/>
                          <a:latin typeface="Calibri" panose="020F0502020204030204" pitchFamily="34" charset="0"/>
                        </a:rPr>
                        <a:t>Capacity [GB]</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3.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3240669143"/>
                  </a:ext>
                </a:extLst>
              </a:tr>
              <a:tr h="0">
                <a:tc>
                  <a:txBody>
                    <a:bodyPr/>
                    <a:lstStyle/>
                    <a:p>
                      <a:pPr algn="l" fontAlgn="ctr"/>
                      <a:r>
                        <a:rPr lang="en-US" sz="1600" b="1" i="0" u="none" strike="noStrike">
                          <a:solidFill>
                            <a:srgbClr val="000000"/>
                          </a:solidFill>
                          <a:effectLst/>
                          <a:latin typeface="Calibri" panose="020F0502020204030204" pitchFamily="34" charset="0"/>
                        </a:rPr>
                        <a:t>BW [TB/s]</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0.01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02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21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07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13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2.14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6.89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2.4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75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4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83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438297683"/>
                  </a:ext>
                </a:extLst>
              </a:tr>
              <a:tr h="0">
                <a:tc>
                  <a:txBody>
                    <a:bodyPr/>
                    <a:lstStyle/>
                    <a:p>
                      <a:pPr algn="l" fontAlgn="ctr"/>
                      <a:r>
                        <a:rPr lang="en-US" sz="1600" b="1" i="0" u="none" strike="noStrike">
                          <a:solidFill>
                            <a:srgbClr val="000000"/>
                          </a:solidFill>
                          <a:effectLst/>
                          <a:latin typeface="Calibri" panose="020F0502020204030204" pitchFamily="34" charset="0"/>
                        </a:rPr>
                        <a:t>Power  [W]</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1.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25.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3.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2.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9.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4.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2846133021"/>
                  </a:ext>
                </a:extLst>
              </a:tr>
              <a:tr h="0">
                <a:tc>
                  <a:txBody>
                    <a:bodyPr/>
                    <a:lstStyle/>
                    <a:p>
                      <a:pPr algn="l" fontAlgn="ctr"/>
                      <a:r>
                        <a:rPr lang="en-US" sz="1600" b="1" i="0" u="none" strike="noStrike">
                          <a:solidFill>
                            <a:srgbClr val="000000"/>
                          </a:solidFill>
                          <a:effectLst/>
                          <a:latin typeface="Calibri" panose="020F0502020204030204" pitchFamily="34" charset="0"/>
                        </a:rPr>
                        <a:t>Random Access Latency (ns)</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3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3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20908548"/>
                  </a:ext>
                </a:extLst>
              </a:tr>
              <a:tr h="0">
                <a:tc>
                  <a:txBody>
                    <a:bodyPr/>
                    <a:lstStyle/>
                    <a:p>
                      <a:pPr algn="l" fontAlgn="ctr"/>
                      <a:r>
                        <a:rPr lang="en-US" sz="1600" b="1" i="0" u="none" strike="noStrike">
                          <a:solidFill>
                            <a:srgbClr val="000000"/>
                          </a:solidFill>
                          <a:effectLst/>
                          <a:latin typeface="Calibri" panose="020F0502020204030204" pitchFamily="34" charset="0"/>
                        </a:rPr>
                        <a:t>Access Energy (pJ/b)</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dirty="0">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3.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0.2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0.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0.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0.9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dirty="0">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5006420"/>
                  </a:ext>
                </a:extLst>
              </a:tr>
            </a:tbl>
          </a:graphicData>
        </a:graphic>
      </p:graphicFrame>
    </p:spTree>
    <p:extLst>
      <p:ext uri="{BB962C8B-B14F-4D97-AF65-F5344CB8AC3E}">
        <p14:creationId xmlns:p14="http://schemas.microsoft.com/office/powerpoint/2010/main" val="2700130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p:tgtEl>
                                          <p:spTgt spid="3"/>
                                        </p:tgtEl>
                                        <p:attrNameLst>
                                          <p:attrName>ppt_x</p:attrName>
                                        </p:attrNameLst>
                                      </p:cBhvr>
                                      <p:tavLst>
                                        <p:tav tm="0">
                                          <p:val>
                                            <p:strVal val="#ppt_x-#ppt_w*1.125000"/>
                                          </p:val>
                                        </p:tav>
                                        <p:tav tm="100000">
                                          <p:val>
                                            <p:strVal val="#ppt_x"/>
                                          </p:val>
                                        </p:tav>
                                      </p:tavLst>
                                    </p:anim>
                                    <p:animEffect transition="in" filter="wipe(right)">
                                      <p:cBhvr>
                                        <p:cTn id="8" dur="500"/>
                                        <p:tgtEl>
                                          <p:spTgt spid="3"/>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p:tgtEl>
                                          <p:spTgt spid="6"/>
                                        </p:tgtEl>
                                        <p:attrNameLst>
                                          <p:attrName>ppt_y</p:attrName>
                                        </p:attrNameLst>
                                      </p:cBhvr>
                                      <p:tavLst>
                                        <p:tav tm="0">
                                          <p:val>
                                            <p:strVal val="#ppt_y+#ppt_h*1.125000"/>
                                          </p:val>
                                        </p:tav>
                                        <p:tav tm="100000">
                                          <p:val>
                                            <p:strVal val="#ppt_y"/>
                                          </p:val>
                                        </p:tav>
                                      </p:tavLst>
                                    </p:anim>
                                    <p:animEffect transition="in" filter="wipe(up)">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B8BD2-E5E7-92D6-2F23-F58686B558E9}"/>
              </a:ext>
            </a:extLst>
          </p:cNvPr>
          <p:cNvSpPr>
            <a:spLocks noGrp="1"/>
          </p:cNvSpPr>
          <p:nvPr>
            <p:ph type="title"/>
          </p:nvPr>
        </p:nvSpPr>
        <p:spPr>
          <a:xfrm>
            <a:off x="914400" y="934065"/>
            <a:ext cx="10363200" cy="838200"/>
          </a:xfrm>
        </p:spPr>
        <p:txBody>
          <a:bodyPr/>
          <a:lstStyle/>
          <a:p>
            <a:r>
              <a:rPr lang="en-US" sz="3600" kern="0" dirty="0"/>
              <a:t>Performance Benchmark of a 100mm</a:t>
            </a:r>
            <a:r>
              <a:rPr lang="en-US" sz="3600" kern="0" baseline="30000" dirty="0"/>
              <a:t>2</a:t>
            </a:r>
            <a:r>
              <a:rPr lang="en-US" sz="3600" kern="0" dirty="0"/>
              <a:t> die</a:t>
            </a:r>
            <a:endParaRPr lang="en-US" sz="3600" dirty="0"/>
          </a:p>
        </p:txBody>
      </p:sp>
      <p:graphicFrame>
        <p:nvGraphicFramePr>
          <p:cNvPr id="3" name="Table 2">
            <a:extLst>
              <a:ext uri="{FF2B5EF4-FFF2-40B4-BE49-F238E27FC236}">
                <a16:creationId xmlns:a16="http://schemas.microsoft.com/office/drawing/2014/main" id="{FC4B6C64-BA7B-3952-1FBA-E6A583DC7ACF}"/>
              </a:ext>
            </a:extLst>
          </p:cNvPr>
          <p:cNvGraphicFramePr>
            <a:graphicFrameLocks noGrp="1"/>
          </p:cNvGraphicFramePr>
          <p:nvPr>
            <p:extLst>
              <p:ext uri="{D42A27DB-BD31-4B8C-83A1-F6EECF244321}">
                <p14:modId xmlns:p14="http://schemas.microsoft.com/office/powerpoint/2010/main" val="2582145715"/>
              </p:ext>
            </p:extLst>
          </p:nvPr>
        </p:nvGraphicFramePr>
        <p:xfrm>
          <a:off x="157774" y="1988318"/>
          <a:ext cx="11876452" cy="3360437"/>
        </p:xfrm>
        <a:graphic>
          <a:graphicData uri="http://schemas.openxmlformats.org/drawingml/2006/table">
            <a:tbl>
              <a:tblPr/>
              <a:tblGrid>
                <a:gridCol w="2583051">
                  <a:extLst>
                    <a:ext uri="{9D8B030D-6E8A-4147-A177-3AD203B41FA5}">
                      <a16:colId xmlns:a16="http://schemas.microsoft.com/office/drawing/2014/main" val="3192345002"/>
                    </a:ext>
                  </a:extLst>
                </a:gridCol>
                <a:gridCol w="814589">
                  <a:extLst>
                    <a:ext uri="{9D8B030D-6E8A-4147-A177-3AD203B41FA5}">
                      <a16:colId xmlns:a16="http://schemas.microsoft.com/office/drawing/2014/main" val="2513963729"/>
                    </a:ext>
                  </a:extLst>
                </a:gridCol>
                <a:gridCol w="814589">
                  <a:extLst>
                    <a:ext uri="{9D8B030D-6E8A-4147-A177-3AD203B41FA5}">
                      <a16:colId xmlns:a16="http://schemas.microsoft.com/office/drawing/2014/main" val="362655613"/>
                    </a:ext>
                  </a:extLst>
                </a:gridCol>
                <a:gridCol w="814589">
                  <a:extLst>
                    <a:ext uri="{9D8B030D-6E8A-4147-A177-3AD203B41FA5}">
                      <a16:colId xmlns:a16="http://schemas.microsoft.com/office/drawing/2014/main" val="3223214694"/>
                    </a:ext>
                  </a:extLst>
                </a:gridCol>
                <a:gridCol w="814589">
                  <a:extLst>
                    <a:ext uri="{9D8B030D-6E8A-4147-A177-3AD203B41FA5}">
                      <a16:colId xmlns:a16="http://schemas.microsoft.com/office/drawing/2014/main" val="551808720"/>
                    </a:ext>
                  </a:extLst>
                </a:gridCol>
                <a:gridCol w="817581">
                  <a:extLst>
                    <a:ext uri="{9D8B030D-6E8A-4147-A177-3AD203B41FA5}">
                      <a16:colId xmlns:a16="http://schemas.microsoft.com/office/drawing/2014/main" val="2164446472"/>
                    </a:ext>
                  </a:extLst>
                </a:gridCol>
                <a:gridCol w="817581">
                  <a:extLst>
                    <a:ext uri="{9D8B030D-6E8A-4147-A177-3AD203B41FA5}">
                      <a16:colId xmlns:a16="http://schemas.microsoft.com/office/drawing/2014/main" val="1592733717"/>
                    </a:ext>
                  </a:extLst>
                </a:gridCol>
                <a:gridCol w="817581">
                  <a:extLst>
                    <a:ext uri="{9D8B030D-6E8A-4147-A177-3AD203B41FA5}">
                      <a16:colId xmlns:a16="http://schemas.microsoft.com/office/drawing/2014/main" val="2356792217"/>
                    </a:ext>
                  </a:extLst>
                </a:gridCol>
                <a:gridCol w="1027355">
                  <a:extLst>
                    <a:ext uri="{9D8B030D-6E8A-4147-A177-3AD203B41FA5}">
                      <a16:colId xmlns:a16="http://schemas.microsoft.com/office/drawing/2014/main" val="1666715553"/>
                    </a:ext>
                  </a:extLst>
                </a:gridCol>
                <a:gridCol w="1027355">
                  <a:extLst>
                    <a:ext uri="{9D8B030D-6E8A-4147-A177-3AD203B41FA5}">
                      <a16:colId xmlns:a16="http://schemas.microsoft.com/office/drawing/2014/main" val="4210183790"/>
                    </a:ext>
                  </a:extLst>
                </a:gridCol>
                <a:gridCol w="763796">
                  <a:extLst>
                    <a:ext uri="{9D8B030D-6E8A-4147-A177-3AD203B41FA5}">
                      <a16:colId xmlns:a16="http://schemas.microsoft.com/office/drawing/2014/main" val="2737289861"/>
                    </a:ext>
                  </a:extLst>
                </a:gridCol>
                <a:gridCol w="763796">
                  <a:extLst>
                    <a:ext uri="{9D8B030D-6E8A-4147-A177-3AD203B41FA5}">
                      <a16:colId xmlns:a16="http://schemas.microsoft.com/office/drawing/2014/main" val="465671881"/>
                    </a:ext>
                  </a:extLst>
                </a:gridCol>
              </a:tblGrid>
              <a:tr h="243769">
                <a:tc>
                  <a:txBody>
                    <a:bodyPr/>
                    <a:lstStyle/>
                    <a:p>
                      <a:pPr algn="l" fontAlgn="ctr"/>
                      <a:r>
                        <a:rPr lang="en-US" sz="1600" b="0" i="0" u="none" strike="noStrike">
                          <a:solidFill>
                            <a:srgbClr val="000000"/>
                          </a:solidFill>
                          <a:effectLst/>
                          <a:latin typeface="Calibri" panose="020F0502020204030204" pitchFamily="34" charset="0"/>
                        </a:rPr>
                        <a:t> </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en-US" sz="1600" b="1" i="0" u="none" strike="noStrike" dirty="0">
                          <a:solidFill>
                            <a:srgbClr val="000000"/>
                          </a:solidFill>
                          <a:effectLst/>
                          <a:latin typeface="Calibri" panose="020F0502020204030204" pitchFamily="34" charset="0"/>
                        </a:rPr>
                        <a:t>JEDEC Memory</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7">
                  <a:txBody>
                    <a:bodyPr/>
                    <a:lstStyle/>
                    <a:p>
                      <a:pPr algn="ctr" fontAlgn="ctr"/>
                      <a:r>
                        <a:rPr lang="en-US" sz="1600" b="1" i="0" u="none" strike="noStrike" dirty="0">
                          <a:solidFill>
                            <a:srgbClr val="000000"/>
                          </a:solidFill>
                          <a:effectLst/>
                          <a:latin typeface="Calibri" panose="020F0502020204030204" pitchFamily="34" charset="0"/>
                        </a:rPr>
                        <a:t>Custom In Package Memory</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02322154"/>
                  </a:ext>
                </a:extLst>
              </a:tr>
              <a:tr h="518007">
                <a:tc>
                  <a:txBody>
                    <a:bodyPr/>
                    <a:lstStyle/>
                    <a:p>
                      <a:pPr algn="ctr" fontAlgn="ctr"/>
                      <a:endParaRPr lang="en-US" sz="1600" b="1" i="0" u="none" strike="noStrike" dirty="0">
                        <a:solidFill>
                          <a:srgbClr val="000000"/>
                        </a:solidFill>
                        <a:effectLst/>
                        <a:latin typeface="Calibri" panose="020F0502020204030204" pitchFamily="34" charset="0"/>
                      </a:endParaRP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DDR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LPDDR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HBM3 (ref)</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GDDR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P1271.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P1227.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Muddy Creek</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APM VHM</a:t>
                      </a:r>
                      <a:br>
                        <a:rPr lang="en-US" sz="1600" b="1" i="0" u="none" strike="noStrike" dirty="0">
                          <a:solidFill>
                            <a:srgbClr val="000000"/>
                          </a:solidFill>
                          <a:effectLst/>
                          <a:latin typeface="Calibri" panose="020F0502020204030204" pitchFamily="34" charset="0"/>
                        </a:rPr>
                      </a:br>
                      <a:r>
                        <a:rPr lang="en-US" sz="1600" b="1" i="0" u="none" strike="noStrike" dirty="0">
                          <a:solidFill>
                            <a:srgbClr val="000000"/>
                          </a:solidFill>
                          <a:effectLst/>
                          <a:latin typeface="Calibri" panose="020F0502020204030204" pitchFamily="34" charset="0"/>
                        </a:rPr>
                        <a:t>AI</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APM VHM Blockchain</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SKH TCCD</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SEC </a:t>
                      </a:r>
                      <a:br>
                        <a:rPr lang="en-US" sz="1600" b="1" i="0" u="none" strike="noStrike" dirty="0">
                          <a:solidFill>
                            <a:srgbClr val="000000"/>
                          </a:solidFill>
                          <a:effectLst/>
                          <a:latin typeface="Calibri" panose="020F0502020204030204" pitchFamily="34" charset="0"/>
                        </a:rPr>
                      </a:br>
                      <a:r>
                        <a:rPr lang="en-US" sz="1600" b="1" i="0" u="none" strike="noStrike" dirty="0">
                          <a:solidFill>
                            <a:srgbClr val="000000"/>
                          </a:solidFill>
                          <a:effectLst/>
                          <a:latin typeface="Calibri" panose="020F0502020204030204" pitchFamily="34" charset="0"/>
                        </a:rPr>
                        <a:t>LLW</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extLst>
                  <a:ext uri="{0D108BD9-81ED-4DB2-BD59-A6C34878D82A}">
                    <a16:rowId xmlns:a16="http://schemas.microsoft.com/office/drawing/2014/main" val="2128541603"/>
                  </a:ext>
                </a:extLst>
              </a:tr>
              <a:tr h="259004">
                <a:tc>
                  <a:txBody>
                    <a:bodyPr/>
                    <a:lstStyle/>
                    <a:p>
                      <a:pPr algn="l" fontAlgn="ctr"/>
                      <a:r>
                        <a:rPr lang="en-US" sz="1600" b="1" i="0" u="none" strike="noStrike" dirty="0">
                          <a:solidFill>
                            <a:srgbClr val="000000"/>
                          </a:solidFill>
                          <a:effectLst/>
                          <a:latin typeface="Calibri" panose="020F0502020204030204" pitchFamily="34" charset="0"/>
                        </a:rPr>
                        <a:t>Capacity [GB]</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3.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3.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extLst>
                  <a:ext uri="{0D108BD9-81ED-4DB2-BD59-A6C34878D82A}">
                    <a16:rowId xmlns:a16="http://schemas.microsoft.com/office/drawing/2014/main" val="3432994841"/>
                  </a:ext>
                </a:extLst>
              </a:tr>
              <a:tr h="259004">
                <a:tc>
                  <a:txBody>
                    <a:bodyPr/>
                    <a:lstStyle/>
                    <a:p>
                      <a:pPr algn="l" fontAlgn="ctr"/>
                      <a:r>
                        <a:rPr lang="en-US" sz="1600" b="1" i="0" u="none" strike="noStrike" dirty="0">
                          <a:solidFill>
                            <a:srgbClr val="000000"/>
                          </a:solidFill>
                          <a:effectLst/>
                          <a:latin typeface="Calibri" panose="020F0502020204030204" pitchFamily="34" charset="0"/>
                        </a:rPr>
                        <a:t>(Large is better)</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dirty="0">
                          <a:solidFill>
                            <a:srgbClr val="0070C0"/>
                          </a:solidFill>
                          <a:effectLst/>
                          <a:latin typeface="Calibri" panose="020F0502020204030204" pitchFamily="34" charset="0"/>
                        </a:rPr>
                        <a:t>2.02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2.09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endParaRPr lang="en-US" sz="1600" b="1" i="0" u="none" strike="noStrike" dirty="0">
                        <a:solidFill>
                          <a:srgbClr val="0070C0"/>
                        </a:solidFill>
                        <a:effectLst/>
                        <a:latin typeface="Calibri" panose="020F0502020204030204" pitchFamily="34" charset="0"/>
                      </a:endParaRP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1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1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16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35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83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9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99532043"/>
                  </a:ext>
                </a:extLst>
              </a:tr>
              <a:tr h="259004">
                <a:tc>
                  <a:txBody>
                    <a:bodyPr/>
                    <a:lstStyle/>
                    <a:p>
                      <a:pPr algn="l" fontAlgn="ctr"/>
                      <a:r>
                        <a:rPr lang="en-US" sz="1600" b="1" i="0" u="none" strike="noStrike" dirty="0">
                          <a:solidFill>
                            <a:srgbClr val="000000"/>
                          </a:solidFill>
                          <a:effectLst/>
                          <a:latin typeface="Calibri" panose="020F0502020204030204" pitchFamily="34" charset="0"/>
                        </a:rPr>
                        <a:t>BW [TB/s]</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0.01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02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21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07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131</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2.14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6.89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2.4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75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4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83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extLst>
                  <a:ext uri="{0D108BD9-81ED-4DB2-BD59-A6C34878D82A}">
                    <a16:rowId xmlns:a16="http://schemas.microsoft.com/office/drawing/2014/main" val="3755617576"/>
                  </a:ext>
                </a:extLst>
              </a:tr>
              <a:tr h="259004">
                <a:tc>
                  <a:txBody>
                    <a:bodyPr/>
                    <a:lstStyle/>
                    <a:p>
                      <a:pPr algn="l" fontAlgn="ctr"/>
                      <a:r>
                        <a:rPr lang="en-US" sz="1600" b="1" i="0" u="none" strike="noStrike">
                          <a:solidFill>
                            <a:srgbClr val="000000"/>
                          </a:solidFill>
                          <a:effectLst/>
                          <a:latin typeface="Calibri" panose="020F0502020204030204" pitchFamily="34" charset="0"/>
                        </a:rPr>
                        <a:t>(Large is better)</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dirty="0">
                          <a:solidFill>
                            <a:srgbClr val="0070C0"/>
                          </a:solidFill>
                          <a:effectLst/>
                          <a:latin typeface="Calibri" panose="020F0502020204030204" pitchFamily="34" charset="0"/>
                        </a:rPr>
                        <a:t>0.07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1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endParaRPr lang="en-US" sz="1600" b="1" i="0" u="none" strike="noStrike" dirty="0">
                        <a:solidFill>
                          <a:srgbClr val="0070C0"/>
                        </a:solidFill>
                        <a:effectLst/>
                        <a:latin typeface="Calibri" panose="020F0502020204030204" pitchFamily="34" charset="0"/>
                      </a:endParaRP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38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62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10.13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32.61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11.3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3.5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6.62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3.9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5456634"/>
                  </a:ext>
                </a:extLst>
              </a:tr>
              <a:tr h="259004">
                <a:tc>
                  <a:txBody>
                    <a:bodyPr/>
                    <a:lstStyle/>
                    <a:p>
                      <a:pPr algn="l" fontAlgn="ctr"/>
                      <a:r>
                        <a:rPr lang="en-US" sz="1600" b="1" i="0" u="none" strike="noStrike" dirty="0">
                          <a:solidFill>
                            <a:srgbClr val="000000"/>
                          </a:solidFill>
                          <a:effectLst/>
                          <a:latin typeface="Calibri" panose="020F0502020204030204" pitchFamily="34" charset="0"/>
                        </a:rPr>
                        <a:t>Power  [W]</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1.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9</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25.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0.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3.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2.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9.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4.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0.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extLst>
                  <a:ext uri="{0D108BD9-81ED-4DB2-BD59-A6C34878D82A}">
                    <a16:rowId xmlns:a16="http://schemas.microsoft.com/office/drawing/2014/main" val="3329870642"/>
                  </a:ext>
                </a:extLst>
              </a:tr>
              <a:tr h="259004">
                <a:tc>
                  <a:txBody>
                    <a:bodyPr/>
                    <a:lstStyle/>
                    <a:p>
                      <a:pPr algn="l" fontAlgn="ctr"/>
                      <a:r>
                        <a:rPr lang="en-US" sz="1600" b="1" i="0" u="none" strike="noStrike" dirty="0">
                          <a:solidFill>
                            <a:srgbClr val="000000"/>
                          </a:solidFill>
                          <a:effectLst/>
                          <a:latin typeface="Calibri" panose="020F0502020204030204" pitchFamily="34" charset="0"/>
                        </a:rPr>
                        <a:t>(Small is better)</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dirty="0">
                          <a:solidFill>
                            <a:srgbClr val="0070C0"/>
                          </a:solidFill>
                          <a:effectLst/>
                          <a:latin typeface="Calibri" panose="020F0502020204030204" pitchFamily="34" charset="0"/>
                        </a:rPr>
                        <a:t>0.07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0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endParaRPr lang="en-US" sz="1600" b="1" i="0" u="none" strike="noStrike" dirty="0">
                        <a:solidFill>
                          <a:srgbClr val="0070C0"/>
                        </a:solidFill>
                        <a:effectLst/>
                        <a:latin typeface="Calibri" panose="020F0502020204030204" pitchFamily="34" charset="0"/>
                      </a:endParaRP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1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2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55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51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38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17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3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41530120"/>
                  </a:ext>
                </a:extLst>
              </a:tr>
              <a:tr h="259004">
                <a:tc>
                  <a:txBody>
                    <a:bodyPr/>
                    <a:lstStyle/>
                    <a:p>
                      <a:pPr algn="l" fontAlgn="ctr"/>
                      <a:r>
                        <a:rPr lang="en-US" sz="1600" b="1" i="0" u="none" strike="noStrike" dirty="0">
                          <a:solidFill>
                            <a:srgbClr val="000000"/>
                          </a:solidFill>
                          <a:effectLst/>
                          <a:latin typeface="Calibri" panose="020F0502020204030204" pitchFamily="34" charset="0"/>
                        </a:rPr>
                        <a:t>Random Access Latency (ns)</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3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34</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3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dirty="0">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dirty="0">
                          <a:solidFill>
                            <a:srgbClr val="000000"/>
                          </a:solidFill>
                          <a:effectLst/>
                          <a:latin typeface="Calibri" panose="020F0502020204030204" pitchFamily="34" charset="0"/>
                        </a:rPr>
                        <a:t>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32</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117001230"/>
                  </a:ext>
                </a:extLst>
              </a:tr>
              <a:tr h="259004">
                <a:tc>
                  <a:txBody>
                    <a:bodyPr/>
                    <a:lstStyle/>
                    <a:p>
                      <a:pPr algn="l" fontAlgn="ctr"/>
                      <a:r>
                        <a:rPr lang="en-US" sz="1600" b="1" i="0" u="none" strike="noStrike" dirty="0">
                          <a:solidFill>
                            <a:srgbClr val="000000"/>
                          </a:solidFill>
                          <a:effectLst/>
                          <a:latin typeface="Calibri" panose="020F0502020204030204" pitchFamily="34" charset="0"/>
                        </a:rPr>
                        <a:t>(Small is better)</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dirty="0">
                          <a:solidFill>
                            <a:srgbClr val="0070C0"/>
                          </a:solidFill>
                          <a:effectLst/>
                          <a:latin typeface="Calibri" panose="020F0502020204030204" pitchFamily="34" charset="0"/>
                        </a:rPr>
                        <a:t>0.97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1.06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endParaRPr lang="en-US" sz="1600" b="1" i="0" u="none" strike="noStrike" dirty="0">
                        <a:solidFill>
                          <a:srgbClr val="0070C0"/>
                        </a:solidFill>
                        <a:effectLst/>
                        <a:latin typeface="Calibri" panose="020F0502020204030204" pitchFamily="34" charset="0"/>
                      </a:endParaRP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88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38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09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9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2927574"/>
                  </a:ext>
                </a:extLst>
              </a:tr>
              <a:tr h="259004">
                <a:tc>
                  <a:txBody>
                    <a:bodyPr/>
                    <a:lstStyle/>
                    <a:p>
                      <a:pPr algn="l" fontAlgn="ctr"/>
                      <a:r>
                        <a:rPr lang="en-US" sz="1600" b="1" i="0" u="none" strike="noStrike" dirty="0">
                          <a:solidFill>
                            <a:srgbClr val="000000"/>
                          </a:solidFill>
                          <a:effectLst/>
                          <a:latin typeface="Calibri" panose="020F0502020204030204" pitchFamily="34" charset="0"/>
                        </a:rPr>
                        <a:t>Access Energy (</a:t>
                      </a:r>
                      <a:r>
                        <a:rPr lang="en-US" sz="1600" b="1" i="0" u="none" strike="noStrike" dirty="0" err="1">
                          <a:solidFill>
                            <a:srgbClr val="000000"/>
                          </a:solidFill>
                          <a:effectLst/>
                          <a:latin typeface="Calibri" panose="020F0502020204030204" pitchFamily="34" charset="0"/>
                        </a:rPr>
                        <a:t>pJ</a:t>
                      </a:r>
                      <a:r>
                        <a:rPr lang="en-US" sz="1600" b="1" i="0" u="none" strike="noStrike" dirty="0">
                          <a:solidFill>
                            <a:srgbClr val="000000"/>
                          </a:solidFill>
                          <a:effectLst/>
                          <a:latin typeface="Calibri" panose="020F0502020204030204" pitchFamily="34" charset="0"/>
                        </a:rPr>
                        <a:t>/b)</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2EFDA"/>
                    </a:solidFill>
                  </a:tcPr>
                </a:tc>
                <a:tc>
                  <a:txBody>
                    <a:bodyPr/>
                    <a:lstStyle/>
                    <a:p>
                      <a:pPr algn="ctr" fontAlgn="ctr"/>
                      <a:r>
                        <a:rPr lang="en-US" sz="1600" b="1" i="0" u="none" strike="noStrike" dirty="0">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3.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0</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8</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dirty="0">
                          <a:solidFill>
                            <a:srgbClr val="000000"/>
                          </a:solidFill>
                          <a:effectLst/>
                          <a:latin typeface="Calibri" panose="020F0502020204030204" pitchFamily="34" charset="0"/>
                        </a:rPr>
                        <a:t>0.23</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dirty="0">
                          <a:solidFill>
                            <a:srgbClr val="000000"/>
                          </a:solidFill>
                          <a:effectLst/>
                          <a:latin typeface="Calibri" panose="020F0502020204030204" pitchFamily="34" charset="0"/>
                        </a:rPr>
                        <a:t>0.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dirty="0">
                          <a:solidFill>
                            <a:srgbClr val="000000"/>
                          </a:solidFill>
                          <a:effectLst/>
                          <a:latin typeface="Calibri" panose="020F0502020204030204" pitchFamily="34" charset="0"/>
                        </a:rPr>
                        <a:t>0.7</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dirty="0">
                          <a:solidFill>
                            <a:srgbClr val="000000"/>
                          </a:solidFill>
                          <a:effectLst/>
                          <a:latin typeface="Calibri" panose="020F0502020204030204" pitchFamily="34" charset="0"/>
                        </a:rPr>
                        <a:t>0.96</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ctr"/>
                      <a:r>
                        <a:rPr lang="en-US" sz="1600" b="1" i="0" u="none" strike="noStrike" dirty="0">
                          <a:solidFill>
                            <a:srgbClr val="000000"/>
                          </a:solidFill>
                          <a:effectLst/>
                          <a:latin typeface="Calibri" panose="020F0502020204030204" pitchFamily="34" charset="0"/>
                        </a:rPr>
                        <a:t>1.5</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1824617035"/>
                  </a:ext>
                </a:extLst>
              </a:tr>
              <a:tr h="259004">
                <a:tc>
                  <a:txBody>
                    <a:bodyPr/>
                    <a:lstStyle/>
                    <a:p>
                      <a:pPr algn="l" fontAlgn="ctr"/>
                      <a:r>
                        <a:rPr lang="en-US" sz="1600" b="1" i="0" u="none" strike="noStrike" dirty="0">
                          <a:solidFill>
                            <a:srgbClr val="000000"/>
                          </a:solidFill>
                          <a:effectLst/>
                          <a:latin typeface="Calibri" panose="020F0502020204030204" pitchFamily="34" charset="0"/>
                        </a:rPr>
                        <a:t>(Small is better)</a:t>
                      </a:r>
                    </a:p>
                  </a:txBody>
                  <a:tcPr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dirty="0">
                          <a:solidFill>
                            <a:srgbClr val="0070C0"/>
                          </a:solidFill>
                          <a:effectLst/>
                          <a:latin typeface="Calibri" panose="020F0502020204030204" pitchFamily="34" charset="0"/>
                        </a:rPr>
                        <a:t>4.32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1.35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endParaRPr lang="en-US" sz="1600" b="1" i="0" u="none" strike="noStrike" dirty="0">
                        <a:solidFill>
                          <a:srgbClr val="0070C0"/>
                        </a:solidFill>
                        <a:effectLst/>
                        <a:latin typeface="Calibri" panose="020F0502020204030204" pitchFamily="34" charset="0"/>
                      </a:endParaRP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4.32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2.7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22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06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14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19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26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US" sz="1600" b="1" i="0" u="none" strike="noStrike" dirty="0">
                          <a:solidFill>
                            <a:srgbClr val="0070C0"/>
                          </a:solidFill>
                          <a:effectLst/>
                          <a:latin typeface="Calibri" panose="020F0502020204030204" pitchFamily="34" charset="0"/>
                        </a:rPr>
                        <a:t>0.41x</a:t>
                      </a:r>
                    </a:p>
                  </a:txBody>
                  <a:tcPr marL="8550" marR="8550" marT="8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8325294"/>
                  </a:ext>
                </a:extLst>
              </a:tr>
            </a:tbl>
          </a:graphicData>
        </a:graphic>
      </p:graphicFrame>
    </p:spTree>
    <p:extLst>
      <p:ext uri="{BB962C8B-B14F-4D97-AF65-F5344CB8AC3E}">
        <p14:creationId xmlns:p14="http://schemas.microsoft.com/office/powerpoint/2010/main" val="20025292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FB7F33-F72C-4045-5011-B544E6FB6B0B}"/>
              </a:ext>
            </a:extLst>
          </p:cNvPr>
          <p:cNvSpPr>
            <a:spLocks noGrp="1"/>
          </p:cNvSpPr>
          <p:nvPr>
            <p:ph type="title"/>
          </p:nvPr>
        </p:nvSpPr>
        <p:spPr/>
        <p:txBody>
          <a:bodyPr/>
          <a:lstStyle/>
          <a:p>
            <a:r>
              <a:rPr lang="en-US" dirty="0"/>
              <a:t>IPM Selection</a:t>
            </a:r>
          </a:p>
        </p:txBody>
      </p:sp>
      <p:grpSp>
        <p:nvGrpSpPr>
          <p:cNvPr id="9" name="Group 8">
            <a:extLst>
              <a:ext uri="{FF2B5EF4-FFF2-40B4-BE49-F238E27FC236}">
                <a16:creationId xmlns:a16="http://schemas.microsoft.com/office/drawing/2014/main" id="{B1558374-7A9E-2EEA-16D8-C25377086BD4}"/>
              </a:ext>
            </a:extLst>
          </p:cNvPr>
          <p:cNvGrpSpPr/>
          <p:nvPr/>
        </p:nvGrpSpPr>
        <p:grpSpPr>
          <a:xfrm>
            <a:off x="2171992" y="4079432"/>
            <a:ext cx="4456797" cy="1321853"/>
            <a:chOff x="4722427" y="3160506"/>
            <a:chExt cx="2745009" cy="534459"/>
          </a:xfrm>
        </p:grpSpPr>
        <p:sp>
          <p:nvSpPr>
            <p:cNvPr id="54" name="Freeform: Shape 80">
              <a:extLst>
                <a:ext uri="{FF2B5EF4-FFF2-40B4-BE49-F238E27FC236}">
                  <a16:creationId xmlns:a16="http://schemas.microsoft.com/office/drawing/2014/main" id="{1EFD7E5B-BD75-42FF-4048-C91AD8E4E1D8}"/>
                </a:ext>
              </a:extLst>
            </p:cNvPr>
            <p:cNvSpPr/>
            <p:nvPr/>
          </p:nvSpPr>
          <p:spPr>
            <a:xfrm>
              <a:off x="4722427" y="3409120"/>
              <a:ext cx="2743200" cy="285750"/>
            </a:xfrm>
            <a:custGeom>
              <a:avLst/>
              <a:gdLst>
                <a:gd name="connsiteX0" fmla="*/ 5879 w 2743200"/>
                <a:gd name="connsiteY0" fmla="*/ 123512 h 285750"/>
                <a:gd name="connsiteX1" fmla="*/ 403071 w 2743200"/>
                <a:gd name="connsiteY1" fmla="*/ 5879 h 285750"/>
                <a:gd name="connsiteX2" fmla="*/ 2344838 w 2743200"/>
                <a:gd name="connsiteY2" fmla="*/ 5879 h 285750"/>
                <a:gd name="connsiteX3" fmla="*/ 2742888 w 2743200"/>
                <a:gd name="connsiteY3" fmla="*/ 129227 h 285750"/>
                <a:gd name="connsiteX4" fmla="*/ 2523431 w 2743200"/>
                <a:gd name="connsiteY4" fmla="*/ 281437 h 285750"/>
                <a:gd name="connsiteX5" fmla="*/ 225716 w 2743200"/>
                <a:gd name="connsiteY5" fmla="*/ 28143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3200" h="285750">
                  <a:moveTo>
                    <a:pt x="5879" y="123512"/>
                  </a:moveTo>
                  <a:lnTo>
                    <a:pt x="403071" y="5879"/>
                  </a:lnTo>
                  <a:lnTo>
                    <a:pt x="2344838" y="5879"/>
                  </a:lnTo>
                  <a:lnTo>
                    <a:pt x="2742888" y="129227"/>
                  </a:lnTo>
                  <a:lnTo>
                    <a:pt x="2523431" y="281437"/>
                  </a:lnTo>
                  <a:lnTo>
                    <a:pt x="225716" y="281437"/>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5" name="Freeform: Shape 81">
              <a:extLst>
                <a:ext uri="{FF2B5EF4-FFF2-40B4-BE49-F238E27FC236}">
                  <a16:creationId xmlns:a16="http://schemas.microsoft.com/office/drawing/2014/main" id="{A7E8E9AC-D8D1-25FF-DEBF-B24C74453539}"/>
                </a:ext>
              </a:extLst>
            </p:cNvPr>
            <p:cNvSpPr/>
            <p:nvPr/>
          </p:nvSpPr>
          <p:spPr>
            <a:xfrm>
              <a:off x="4722427" y="3262054"/>
              <a:ext cx="447675" cy="428625"/>
            </a:xfrm>
            <a:custGeom>
              <a:avLst/>
              <a:gdLst>
                <a:gd name="connsiteX0" fmla="*/ 269435 w 447675"/>
                <a:gd name="connsiteY0" fmla="*/ 5879 h 428625"/>
                <a:gd name="connsiteX1" fmla="*/ 5879 w 447675"/>
                <a:gd name="connsiteY1" fmla="*/ 270578 h 428625"/>
                <a:gd name="connsiteX2" fmla="*/ 225716 w 447675"/>
                <a:gd name="connsiteY2" fmla="*/ 428503 h 428625"/>
                <a:gd name="connsiteX3" fmla="*/ 446981 w 447675"/>
                <a:gd name="connsiteY3" fmla="*/ 132656 h 428625"/>
              </a:gdLst>
              <a:ahLst/>
              <a:cxnLst>
                <a:cxn ang="0">
                  <a:pos x="connsiteX0" y="connsiteY0"/>
                </a:cxn>
                <a:cxn ang="0">
                  <a:pos x="connsiteX1" y="connsiteY1"/>
                </a:cxn>
                <a:cxn ang="0">
                  <a:pos x="connsiteX2" y="connsiteY2"/>
                </a:cxn>
                <a:cxn ang="0">
                  <a:pos x="connsiteX3" y="connsiteY3"/>
                </a:cxn>
              </a:cxnLst>
              <a:rect l="l" t="t" r="r" b="b"/>
              <a:pathLst>
                <a:path w="447675" h="428625">
                  <a:moveTo>
                    <a:pt x="269435" y="5879"/>
                  </a:moveTo>
                  <a:lnTo>
                    <a:pt x="5879" y="270578"/>
                  </a:lnTo>
                  <a:lnTo>
                    <a:pt x="225716" y="428503"/>
                  </a:lnTo>
                  <a:lnTo>
                    <a:pt x="446981" y="132656"/>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6" name="Freeform: Shape 82">
              <a:extLst>
                <a:ext uri="{FF2B5EF4-FFF2-40B4-BE49-F238E27FC236}">
                  <a16:creationId xmlns:a16="http://schemas.microsoft.com/office/drawing/2014/main" id="{1E15B897-BDCF-3549-B6F0-A273BE5162C1}"/>
                </a:ext>
              </a:extLst>
            </p:cNvPr>
            <p:cNvSpPr/>
            <p:nvPr/>
          </p:nvSpPr>
          <p:spPr>
            <a:xfrm>
              <a:off x="5119989" y="3160506"/>
              <a:ext cx="200025" cy="257175"/>
            </a:xfrm>
            <a:custGeom>
              <a:avLst/>
              <a:gdLst>
                <a:gd name="connsiteX0" fmla="*/ 196580 w 200025"/>
                <a:gd name="connsiteY0" fmla="*/ 5509 h 257175"/>
                <a:gd name="connsiteX1" fmla="*/ 5509 w 200025"/>
                <a:gd name="connsiteY1" fmla="*/ 254492 h 257175"/>
              </a:gdLst>
              <a:ahLst/>
              <a:cxnLst>
                <a:cxn ang="0">
                  <a:pos x="connsiteX0" y="connsiteY0"/>
                </a:cxn>
                <a:cxn ang="0">
                  <a:pos x="connsiteX1" y="connsiteY1"/>
                </a:cxn>
              </a:cxnLst>
              <a:rect l="l" t="t" r="r" b="b"/>
              <a:pathLst>
                <a:path w="200025" h="257175">
                  <a:moveTo>
                    <a:pt x="196580" y="5509"/>
                  </a:moveTo>
                  <a:lnTo>
                    <a:pt x="5509" y="254492"/>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7" name="Freeform: Shape 83">
              <a:extLst>
                <a:ext uri="{FF2B5EF4-FFF2-40B4-BE49-F238E27FC236}">
                  <a16:creationId xmlns:a16="http://schemas.microsoft.com/office/drawing/2014/main" id="{4F539219-4C8B-D3F4-FCCA-BA97DA7914AA}"/>
                </a:ext>
              </a:extLst>
            </p:cNvPr>
            <p:cNvSpPr/>
            <p:nvPr/>
          </p:nvSpPr>
          <p:spPr>
            <a:xfrm>
              <a:off x="6863921" y="3160506"/>
              <a:ext cx="200025" cy="257175"/>
            </a:xfrm>
            <a:custGeom>
              <a:avLst/>
              <a:gdLst>
                <a:gd name="connsiteX0" fmla="*/ 5509 w 200025"/>
                <a:gd name="connsiteY0" fmla="*/ 5509 h 257175"/>
                <a:gd name="connsiteX1" fmla="*/ 203343 w 200025"/>
                <a:gd name="connsiteY1" fmla="*/ 254492 h 257175"/>
              </a:gdLst>
              <a:ahLst/>
              <a:cxnLst>
                <a:cxn ang="0">
                  <a:pos x="connsiteX0" y="connsiteY0"/>
                </a:cxn>
                <a:cxn ang="0">
                  <a:pos x="connsiteX1" y="connsiteY1"/>
                </a:cxn>
              </a:cxnLst>
              <a:rect l="l" t="t" r="r" b="b"/>
              <a:pathLst>
                <a:path w="200025" h="257175">
                  <a:moveTo>
                    <a:pt x="5509" y="5509"/>
                  </a:moveTo>
                  <a:lnTo>
                    <a:pt x="203343" y="254492"/>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8" name="Freeform: Shape 85">
              <a:extLst>
                <a:ext uri="{FF2B5EF4-FFF2-40B4-BE49-F238E27FC236}">
                  <a16:creationId xmlns:a16="http://schemas.microsoft.com/office/drawing/2014/main" id="{A19B07B4-5CF8-7552-32FB-0F0BF82F6994}"/>
                </a:ext>
              </a:extLst>
            </p:cNvPr>
            <p:cNvSpPr/>
            <p:nvPr/>
          </p:nvSpPr>
          <p:spPr>
            <a:xfrm>
              <a:off x="4986353" y="3160506"/>
              <a:ext cx="2209800" cy="238125"/>
            </a:xfrm>
            <a:custGeom>
              <a:avLst/>
              <a:gdLst>
                <a:gd name="connsiteX0" fmla="*/ 5509 w 2209800"/>
                <a:gd name="connsiteY0" fmla="*/ 107426 h 238125"/>
                <a:gd name="connsiteX1" fmla="*/ 330216 w 2209800"/>
                <a:gd name="connsiteY1" fmla="*/ 5509 h 238125"/>
                <a:gd name="connsiteX2" fmla="*/ 1883077 w 2209800"/>
                <a:gd name="connsiteY2" fmla="*/ 5509 h 238125"/>
                <a:gd name="connsiteX3" fmla="*/ 2207308 w 2209800"/>
                <a:gd name="connsiteY3" fmla="*/ 111712 h 238125"/>
                <a:gd name="connsiteX4" fmla="*/ 2029762 w 2209800"/>
                <a:gd name="connsiteY4" fmla="*/ 234204 h 238125"/>
                <a:gd name="connsiteX5" fmla="*/ 183055 w 2209800"/>
                <a:gd name="connsiteY5" fmla="*/ 23420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9800" h="238125">
                  <a:moveTo>
                    <a:pt x="5509" y="107426"/>
                  </a:moveTo>
                  <a:lnTo>
                    <a:pt x="330216" y="5509"/>
                  </a:lnTo>
                  <a:lnTo>
                    <a:pt x="1883077" y="5509"/>
                  </a:lnTo>
                  <a:lnTo>
                    <a:pt x="2207308" y="111712"/>
                  </a:lnTo>
                  <a:lnTo>
                    <a:pt x="2029762" y="234204"/>
                  </a:lnTo>
                  <a:lnTo>
                    <a:pt x="183055" y="234204"/>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9" name="Freeform: Shape 86">
              <a:extLst>
                <a:ext uri="{FF2B5EF4-FFF2-40B4-BE49-F238E27FC236}">
                  <a16:creationId xmlns:a16="http://schemas.microsoft.com/office/drawing/2014/main" id="{0FBB73D7-268A-3CA2-92E6-CD08F18949C7}"/>
                </a:ext>
              </a:extLst>
            </p:cNvPr>
            <p:cNvSpPr/>
            <p:nvPr/>
          </p:nvSpPr>
          <p:spPr>
            <a:xfrm>
              <a:off x="4942264" y="3388831"/>
              <a:ext cx="2295525" cy="304800"/>
            </a:xfrm>
            <a:custGeom>
              <a:avLst/>
              <a:gdLst>
                <a:gd name="connsiteX0" fmla="*/ 5879 w 2295525"/>
                <a:gd name="connsiteY0" fmla="*/ 301725 h 304800"/>
                <a:gd name="connsiteX1" fmla="*/ 2295498 w 2295525"/>
                <a:gd name="connsiteY1" fmla="*/ 301725 h 304800"/>
                <a:gd name="connsiteX2" fmla="*/ 2069089 w 2295525"/>
                <a:gd name="connsiteY2" fmla="*/ 5879 h 304800"/>
                <a:gd name="connsiteX3" fmla="*/ 227144 w 2295525"/>
                <a:gd name="connsiteY3" fmla="*/ 5879 h 304800"/>
              </a:gdLst>
              <a:ahLst/>
              <a:cxnLst>
                <a:cxn ang="0">
                  <a:pos x="connsiteX0" y="connsiteY0"/>
                </a:cxn>
                <a:cxn ang="0">
                  <a:pos x="connsiteX1" y="connsiteY1"/>
                </a:cxn>
                <a:cxn ang="0">
                  <a:pos x="connsiteX2" y="connsiteY2"/>
                </a:cxn>
                <a:cxn ang="0">
                  <a:pos x="connsiteX3" y="connsiteY3"/>
                </a:cxn>
              </a:cxnLst>
              <a:rect l="l" t="t" r="r" b="b"/>
              <a:pathLst>
                <a:path w="2295525" h="304800">
                  <a:moveTo>
                    <a:pt x="5879" y="301725"/>
                  </a:moveTo>
                  <a:lnTo>
                    <a:pt x="2295498" y="301725"/>
                  </a:lnTo>
                  <a:lnTo>
                    <a:pt x="2069089" y="5879"/>
                  </a:lnTo>
                  <a:lnTo>
                    <a:pt x="227144" y="5879"/>
                  </a:lnTo>
                  <a:close/>
                </a:path>
              </a:pathLst>
            </a:custGeom>
            <a:gradFill>
              <a:gsLst>
                <a:gs pos="0">
                  <a:schemeClr val="tx2">
                    <a:lumMod val="75000"/>
                    <a:alpha val="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60" name="Freeform: Shape 87">
              <a:extLst>
                <a:ext uri="{FF2B5EF4-FFF2-40B4-BE49-F238E27FC236}">
                  <a16:creationId xmlns:a16="http://schemas.microsoft.com/office/drawing/2014/main" id="{1E71A593-0249-6FBA-7B9C-0597ED186192}"/>
                </a:ext>
              </a:extLst>
            </p:cNvPr>
            <p:cNvSpPr/>
            <p:nvPr/>
          </p:nvSpPr>
          <p:spPr>
            <a:xfrm>
              <a:off x="7010236" y="3266340"/>
              <a:ext cx="457200" cy="428625"/>
            </a:xfrm>
            <a:custGeom>
              <a:avLst/>
              <a:gdLst>
                <a:gd name="connsiteX0" fmla="*/ 227525 w 457200"/>
                <a:gd name="connsiteY0" fmla="*/ 424217 h 428625"/>
                <a:gd name="connsiteX1" fmla="*/ 455078 w 457200"/>
                <a:gd name="connsiteY1" fmla="*/ 272007 h 428625"/>
                <a:gd name="connsiteX2" fmla="*/ 183424 w 457200"/>
                <a:gd name="connsiteY2" fmla="*/ 5879 h 428625"/>
                <a:gd name="connsiteX3" fmla="*/ 5879 w 457200"/>
                <a:gd name="connsiteY3" fmla="*/ 128370 h 428625"/>
              </a:gdLst>
              <a:ahLst/>
              <a:cxnLst>
                <a:cxn ang="0">
                  <a:pos x="connsiteX0" y="connsiteY0"/>
                </a:cxn>
                <a:cxn ang="0">
                  <a:pos x="connsiteX1" y="connsiteY1"/>
                </a:cxn>
                <a:cxn ang="0">
                  <a:pos x="connsiteX2" y="connsiteY2"/>
                </a:cxn>
                <a:cxn ang="0">
                  <a:pos x="connsiteX3" y="connsiteY3"/>
                </a:cxn>
              </a:cxnLst>
              <a:rect l="l" t="t" r="r" b="b"/>
              <a:pathLst>
                <a:path w="457200" h="428625">
                  <a:moveTo>
                    <a:pt x="227525" y="424217"/>
                  </a:moveTo>
                  <a:lnTo>
                    <a:pt x="455078" y="272007"/>
                  </a:lnTo>
                  <a:lnTo>
                    <a:pt x="183424" y="5879"/>
                  </a:lnTo>
                  <a:lnTo>
                    <a:pt x="5879" y="128370"/>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grpSp>
        <p:nvGrpSpPr>
          <p:cNvPr id="10" name="Group 9">
            <a:extLst>
              <a:ext uri="{FF2B5EF4-FFF2-40B4-BE49-F238E27FC236}">
                <a16:creationId xmlns:a16="http://schemas.microsoft.com/office/drawing/2014/main" id="{CB065E86-D50B-9C09-1C35-DC8BA335C474}"/>
              </a:ext>
            </a:extLst>
          </p:cNvPr>
          <p:cNvGrpSpPr/>
          <p:nvPr/>
        </p:nvGrpSpPr>
        <p:grpSpPr>
          <a:xfrm>
            <a:off x="1734677" y="5306286"/>
            <a:ext cx="5339018" cy="847789"/>
            <a:chOff x="12456098" y="5203261"/>
            <a:chExt cx="7756959" cy="807082"/>
          </a:xfrm>
        </p:grpSpPr>
        <p:sp>
          <p:nvSpPr>
            <p:cNvPr id="51" name="Freeform: Shape 89">
              <a:extLst>
                <a:ext uri="{FF2B5EF4-FFF2-40B4-BE49-F238E27FC236}">
                  <a16:creationId xmlns:a16="http://schemas.microsoft.com/office/drawing/2014/main" id="{C4ED0549-890C-8B9F-F270-FE0CFCF8A977}"/>
                </a:ext>
              </a:extLst>
            </p:cNvPr>
            <p:cNvSpPr/>
            <p:nvPr/>
          </p:nvSpPr>
          <p:spPr>
            <a:xfrm>
              <a:off x="13014554" y="5203261"/>
              <a:ext cx="582893" cy="739825"/>
            </a:xfrm>
            <a:custGeom>
              <a:avLst/>
              <a:gdLst>
                <a:gd name="connsiteX0" fmla="*/ 579537 w 582892"/>
                <a:gd name="connsiteY0" fmla="*/ 16597 h 739825"/>
                <a:gd name="connsiteX1" fmla="*/ 16597 w 582892"/>
                <a:gd name="connsiteY1" fmla="*/ 724364 h 739825"/>
              </a:gdLst>
              <a:ahLst/>
              <a:cxnLst>
                <a:cxn ang="0">
                  <a:pos x="connsiteX0" y="connsiteY0"/>
                </a:cxn>
                <a:cxn ang="0">
                  <a:pos x="connsiteX1" y="connsiteY1"/>
                </a:cxn>
              </a:cxnLst>
              <a:rect l="l" t="t" r="r" b="b"/>
              <a:pathLst>
                <a:path w="582892" h="739825">
                  <a:moveTo>
                    <a:pt x="579537" y="16597"/>
                  </a:moveTo>
                  <a:lnTo>
                    <a:pt x="16597" y="724364"/>
                  </a:lnTo>
                </a:path>
              </a:pathLst>
            </a:custGeom>
            <a:gradFill>
              <a:gsLst>
                <a:gs pos="0">
                  <a:schemeClr val="tx2">
                    <a:lumMod val="75000"/>
                    <a:alpha val="49000"/>
                  </a:schemeClr>
                </a:gs>
                <a:gs pos="100000">
                  <a:srgbClr val="0A0B10">
                    <a:alpha val="0"/>
                  </a:srgbClr>
                </a:gs>
              </a:gsLst>
              <a:lin ang="3600000" scaled="0"/>
            </a:gradFill>
            <a:ln w="6350">
              <a:solidFill>
                <a:srgbClr val="0088EE">
                  <a:alpha val="50000"/>
                </a:srgbClr>
              </a:soli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2" name="Freeform: Shape 90">
              <a:extLst>
                <a:ext uri="{FF2B5EF4-FFF2-40B4-BE49-F238E27FC236}">
                  <a16:creationId xmlns:a16="http://schemas.microsoft.com/office/drawing/2014/main" id="{67B150D6-09E9-480C-3181-2DF1AE900B28}"/>
                </a:ext>
              </a:extLst>
            </p:cNvPr>
            <p:cNvSpPr/>
            <p:nvPr/>
          </p:nvSpPr>
          <p:spPr>
            <a:xfrm>
              <a:off x="19059602" y="5203261"/>
              <a:ext cx="560474" cy="739825"/>
            </a:xfrm>
            <a:custGeom>
              <a:avLst/>
              <a:gdLst>
                <a:gd name="connsiteX0" fmla="*/ 16598 w 560473"/>
                <a:gd name="connsiteY0" fmla="*/ 16597 h 739825"/>
                <a:gd name="connsiteX1" fmla="*/ 546806 w 560473"/>
                <a:gd name="connsiteY1" fmla="*/ 724364 h 739825"/>
              </a:gdLst>
              <a:ahLst/>
              <a:cxnLst>
                <a:cxn ang="0">
                  <a:pos x="connsiteX0" y="connsiteY0"/>
                </a:cxn>
                <a:cxn ang="0">
                  <a:pos x="connsiteX1" y="connsiteY1"/>
                </a:cxn>
              </a:cxnLst>
              <a:rect l="l" t="t" r="r" b="b"/>
              <a:pathLst>
                <a:path w="560473" h="739825">
                  <a:moveTo>
                    <a:pt x="16598" y="16597"/>
                  </a:moveTo>
                  <a:lnTo>
                    <a:pt x="546806" y="724364"/>
                  </a:lnTo>
                </a:path>
              </a:pathLst>
            </a:custGeom>
            <a:gradFill>
              <a:gsLst>
                <a:gs pos="0">
                  <a:schemeClr val="tx2">
                    <a:lumMod val="75000"/>
                    <a:alpha val="49000"/>
                  </a:schemeClr>
                </a:gs>
                <a:gs pos="100000">
                  <a:srgbClr val="0A0B10">
                    <a:alpha val="0"/>
                  </a:srgbClr>
                </a:gs>
              </a:gsLst>
              <a:lin ang="3600000" scaled="0"/>
            </a:gradFill>
            <a:ln w="6350">
              <a:solidFill>
                <a:srgbClr val="0088EE">
                  <a:alpha val="50000"/>
                </a:srgbClr>
              </a:soli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3" name="Freeform: Shape 91">
              <a:extLst>
                <a:ext uri="{FF2B5EF4-FFF2-40B4-BE49-F238E27FC236}">
                  <a16:creationId xmlns:a16="http://schemas.microsoft.com/office/drawing/2014/main" id="{0C453195-F499-9EF9-72C5-003D698D1A42}"/>
                </a:ext>
              </a:extLst>
            </p:cNvPr>
            <p:cNvSpPr/>
            <p:nvPr/>
          </p:nvSpPr>
          <p:spPr>
            <a:xfrm>
              <a:off x="12456098" y="5203261"/>
              <a:ext cx="7756959" cy="807082"/>
            </a:xfrm>
            <a:custGeom>
              <a:avLst/>
              <a:gdLst>
                <a:gd name="connsiteX0" fmla="*/ 16597 w 7756959"/>
                <a:gd name="connsiteY0" fmla="*/ 348846 h 807082"/>
                <a:gd name="connsiteX1" fmla="*/ 1137994 w 7756959"/>
                <a:gd name="connsiteY1" fmla="*/ 16597 h 807082"/>
                <a:gd name="connsiteX2" fmla="*/ 6620101 w 7756959"/>
                <a:gd name="connsiteY2" fmla="*/ 16597 h 807082"/>
                <a:gd name="connsiteX3" fmla="*/ 7744188 w 7756959"/>
                <a:gd name="connsiteY3" fmla="*/ 364988 h 807082"/>
                <a:gd name="connsiteX4" fmla="*/ 7124528 w 7756959"/>
                <a:gd name="connsiteY4" fmla="*/ 794759 h 807082"/>
                <a:gd name="connsiteX5" fmla="*/ 637154 w 7756959"/>
                <a:gd name="connsiteY5" fmla="*/ 794759 h 80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56959" h="807082">
                  <a:moveTo>
                    <a:pt x="16597" y="348846"/>
                  </a:moveTo>
                  <a:lnTo>
                    <a:pt x="1137994" y="16597"/>
                  </a:lnTo>
                  <a:lnTo>
                    <a:pt x="6620101" y="16597"/>
                  </a:lnTo>
                  <a:lnTo>
                    <a:pt x="7744188" y="364988"/>
                  </a:lnTo>
                  <a:lnTo>
                    <a:pt x="7124528" y="794759"/>
                  </a:lnTo>
                  <a:lnTo>
                    <a:pt x="637154" y="794759"/>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grpSp>
        <p:nvGrpSpPr>
          <p:cNvPr id="11" name="Group 10">
            <a:extLst>
              <a:ext uri="{FF2B5EF4-FFF2-40B4-BE49-F238E27FC236}">
                <a16:creationId xmlns:a16="http://schemas.microsoft.com/office/drawing/2014/main" id="{21F77BD1-EAC5-8587-5DF2-E9F6DEF36541}"/>
              </a:ext>
            </a:extLst>
          </p:cNvPr>
          <p:cNvGrpSpPr/>
          <p:nvPr/>
        </p:nvGrpSpPr>
        <p:grpSpPr>
          <a:xfrm>
            <a:off x="1726453" y="4699605"/>
            <a:ext cx="5319889" cy="1445475"/>
            <a:chOff x="4455906" y="4532438"/>
            <a:chExt cx="3276600" cy="584443"/>
          </a:xfrm>
        </p:grpSpPr>
        <p:sp>
          <p:nvSpPr>
            <p:cNvPr id="44" name="Freeform: Shape 93">
              <a:extLst>
                <a:ext uri="{FF2B5EF4-FFF2-40B4-BE49-F238E27FC236}">
                  <a16:creationId xmlns:a16="http://schemas.microsoft.com/office/drawing/2014/main" id="{D02398A3-033F-864C-DDF2-0E3FADA7BE6F}"/>
                </a:ext>
              </a:extLst>
            </p:cNvPr>
            <p:cNvSpPr/>
            <p:nvPr/>
          </p:nvSpPr>
          <p:spPr>
            <a:xfrm>
              <a:off x="4455906" y="4783506"/>
              <a:ext cx="3276600" cy="333375"/>
            </a:xfrm>
            <a:custGeom>
              <a:avLst/>
              <a:gdLst>
                <a:gd name="connsiteX0" fmla="*/ 5509 w 3276600"/>
                <a:gd name="connsiteY0" fmla="*/ 138859 h 333375"/>
                <a:gd name="connsiteX1" fmla="*/ 474615 w 3276600"/>
                <a:gd name="connsiteY1" fmla="*/ 5509 h 333375"/>
                <a:gd name="connsiteX2" fmla="*/ 2803478 w 3276600"/>
                <a:gd name="connsiteY2" fmla="*/ 5509 h 333375"/>
                <a:gd name="connsiteX3" fmla="*/ 3274965 w 3276600"/>
                <a:gd name="connsiteY3" fmla="*/ 146002 h 333375"/>
                <a:gd name="connsiteX4" fmla="*/ 3013789 w 3276600"/>
                <a:gd name="connsiteY4" fmla="*/ 327930 h 333375"/>
                <a:gd name="connsiteX5" fmla="*/ 267446 w 3276600"/>
                <a:gd name="connsiteY5" fmla="*/ 32793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6600" h="333375">
                  <a:moveTo>
                    <a:pt x="5509" y="138859"/>
                  </a:moveTo>
                  <a:lnTo>
                    <a:pt x="474615" y="5509"/>
                  </a:lnTo>
                  <a:lnTo>
                    <a:pt x="2803478" y="5509"/>
                  </a:lnTo>
                  <a:lnTo>
                    <a:pt x="3274965" y="146002"/>
                  </a:lnTo>
                  <a:lnTo>
                    <a:pt x="3013789" y="327930"/>
                  </a:lnTo>
                  <a:lnTo>
                    <a:pt x="267446" y="327930"/>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5" name="Freeform: Shape 94">
              <a:extLst>
                <a:ext uri="{FF2B5EF4-FFF2-40B4-BE49-F238E27FC236}">
                  <a16:creationId xmlns:a16="http://schemas.microsoft.com/office/drawing/2014/main" id="{E9DBBB38-16F8-A1C3-F57B-30DD59DDEDE5}"/>
                </a:ext>
              </a:extLst>
            </p:cNvPr>
            <p:cNvSpPr/>
            <p:nvPr/>
          </p:nvSpPr>
          <p:spPr>
            <a:xfrm>
              <a:off x="4455906" y="4650441"/>
              <a:ext cx="495300" cy="457200"/>
            </a:xfrm>
            <a:custGeom>
              <a:avLst/>
              <a:gdLst>
                <a:gd name="connsiteX0" fmla="*/ 276781 w 495300"/>
                <a:gd name="connsiteY0" fmla="*/ 5509 h 457200"/>
                <a:gd name="connsiteX1" fmla="*/ 5509 w 495300"/>
                <a:gd name="connsiteY1" fmla="*/ 271923 h 457200"/>
                <a:gd name="connsiteX2" fmla="*/ 267446 w 495300"/>
                <a:gd name="connsiteY2" fmla="*/ 460994 h 457200"/>
                <a:gd name="connsiteX3" fmla="*/ 496618 w 495300"/>
                <a:gd name="connsiteY3" fmla="*/ 163528 h 457200"/>
              </a:gdLst>
              <a:ahLst/>
              <a:cxnLst>
                <a:cxn ang="0">
                  <a:pos x="connsiteX0" y="connsiteY0"/>
                </a:cxn>
                <a:cxn ang="0">
                  <a:pos x="connsiteX1" y="connsiteY1"/>
                </a:cxn>
                <a:cxn ang="0">
                  <a:pos x="connsiteX2" y="connsiteY2"/>
                </a:cxn>
                <a:cxn ang="0">
                  <a:pos x="connsiteX3" y="connsiteY3"/>
                </a:cxn>
              </a:cxnLst>
              <a:rect l="l" t="t" r="r" b="b"/>
              <a:pathLst>
                <a:path w="495300" h="457200">
                  <a:moveTo>
                    <a:pt x="276781" y="5509"/>
                  </a:moveTo>
                  <a:lnTo>
                    <a:pt x="5509" y="271923"/>
                  </a:lnTo>
                  <a:lnTo>
                    <a:pt x="267446" y="460994"/>
                  </a:lnTo>
                  <a:lnTo>
                    <a:pt x="496618" y="163528"/>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6" name="Freeform: Shape 95">
              <a:extLst>
                <a:ext uri="{FF2B5EF4-FFF2-40B4-BE49-F238E27FC236}">
                  <a16:creationId xmlns:a16="http://schemas.microsoft.com/office/drawing/2014/main" id="{BB4982D4-6B15-33DE-CAB8-3E236C07B752}"/>
                </a:ext>
              </a:extLst>
            </p:cNvPr>
            <p:cNvSpPr/>
            <p:nvPr/>
          </p:nvSpPr>
          <p:spPr>
            <a:xfrm>
              <a:off x="4924642" y="4532438"/>
              <a:ext cx="209550" cy="257175"/>
            </a:xfrm>
            <a:custGeom>
              <a:avLst/>
              <a:gdLst>
                <a:gd name="connsiteX0" fmla="*/ 205237 w 209550"/>
                <a:gd name="connsiteY0" fmla="*/ 5879 h 257175"/>
                <a:gd name="connsiteX1" fmla="*/ 5879 w 209550"/>
                <a:gd name="connsiteY1" fmla="*/ 256577 h 257175"/>
              </a:gdLst>
              <a:ahLst/>
              <a:cxnLst>
                <a:cxn ang="0">
                  <a:pos x="connsiteX0" y="connsiteY0"/>
                </a:cxn>
                <a:cxn ang="0">
                  <a:pos x="connsiteX1" y="connsiteY1"/>
                </a:cxn>
              </a:cxnLst>
              <a:rect l="l" t="t" r="r" b="b"/>
              <a:pathLst>
                <a:path w="209550" h="257175">
                  <a:moveTo>
                    <a:pt x="205237" y="5879"/>
                  </a:moveTo>
                  <a:lnTo>
                    <a:pt x="5879" y="256577"/>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7" name="Freeform: Shape 96">
              <a:extLst>
                <a:ext uri="{FF2B5EF4-FFF2-40B4-BE49-F238E27FC236}">
                  <a16:creationId xmlns:a16="http://schemas.microsoft.com/office/drawing/2014/main" id="{2AE2DF61-EA5E-665E-DD81-CD0F97BBC0FB}"/>
                </a:ext>
              </a:extLst>
            </p:cNvPr>
            <p:cNvSpPr/>
            <p:nvPr/>
          </p:nvSpPr>
          <p:spPr>
            <a:xfrm>
              <a:off x="7065672" y="4532438"/>
              <a:ext cx="190500" cy="257175"/>
            </a:xfrm>
            <a:custGeom>
              <a:avLst/>
              <a:gdLst>
                <a:gd name="connsiteX0" fmla="*/ 5879 w 190500"/>
                <a:gd name="connsiteY0" fmla="*/ 5879 h 257175"/>
                <a:gd name="connsiteX1" fmla="*/ 193712 w 190500"/>
                <a:gd name="connsiteY1" fmla="*/ 256577 h 257175"/>
              </a:gdLst>
              <a:ahLst/>
              <a:cxnLst>
                <a:cxn ang="0">
                  <a:pos x="connsiteX0" y="connsiteY0"/>
                </a:cxn>
                <a:cxn ang="0">
                  <a:pos x="connsiteX1" y="connsiteY1"/>
                </a:cxn>
              </a:cxnLst>
              <a:rect l="l" t="t" r="r" b="b"/>
              <a:pathLst>
                <a:path w="190500" h="257175">
                  <a:moveTo>
                    <a:pt x="5879" y="5879"/>
                  </a:moveTo>
                  <a:lnTo>
                    <a:pt x="193712" y="256577"/>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8" name="Freeform: Shape 97">
              <a:extLst>
                <a:ext uri="{FF2B5EF4-FFF2-40B4-BE49-F238E27FC236}">
                  <a16:creationId xmlns:a16="http://schemas.microsoft.com/office/drawing/2014/main" id="{2EC267AA-45F9-2D37-F4EE-2FDFDB6F92B8}"/>
                </a:ext>
              </a:extLst>
            </p:cNvPr>
            <p:cNvSpPr/>
            <p:nvPr/>
          </p:nvSpPr>
          <p:spPr>
            <a:xfrm>
              <a:off x="4726808" y="4532438"/>
              <a:ext cx="2743200" cy="285750"/>
            </a:xfrm>
            <a:custGeom>
              <a:avLst/>
              <a:gdLst>
                <a:gd name="connsiteX0" fmla="*/ 5879 w 2743200"/>
                <a:gd name="connsiteY0" fmla="*/ 123512 h 285750"/>
                <a:gd name="connsiteX1" fmla="*/ 403071 w 2743200"/>
                <a:gd name="connsiteY1" fmla="*/ 5879 h 285750"/>
                <a:gd name="connsiteX2" fmla="*/ 2344743 w 2743200"/>
                <a:gd name="connsiteY2" fmla="*/ 5879 h 285750"/>
                <a:gd name="connsiteX3" fmla="*/ 2742887 w 2743200"/>
                <a:gd name="connsiteY3" fmla="*/ 129227 h 285750"/>
                <a:gd name="connsiteX4" fmla="*/ 2523431 w 2743200"/>
                <a:gd name="connsiteY4" fmla="*/ 281532 h 285750"/>
                <a:gd name="connsiteX5" fmla="*/ 225716 w 2743200"/>
                <a:gd name="connsiteY5" fmla="*/ 281532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3200" h="285750">
                  <a:moveTo>
                    <a:pt x="5879" y="123512"/>
                  </a:moveTo>
                  <a:lnTo>
                    <a:pt x="403071" y="5879"/>
                  </a:lnTo>
                  <a:lnTo>
                    <a:pt x="2344743" y="5879"/>
                  </a:lnTo>
                  <a:lnTo>
                    <a:pt x="2742887" y="129227"/>
                  </a:lnTo>
                  <a:lnTo>
                    <a:pt x="2523431" y="281532"/>
                  </a:lnTo>
                  <a:lnTo>
                    <a:pt x="225716" y="281532"/>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9" name="Freeform: Shape 98">
              <a:extLst>
                <a:ext uri="{FF2B5EF4-FFF2-40B4-BE49-F238E27FC236}">
                  <a16:creationId xmlns:a16="http://schemas.microsoft.com/office/drawing/2014/main" id="{13DC46AF-3636-37E5-F406-2F7176BEF9BA}"/>
                </a:ext>
              </a:extLst>
            </p:cNvPr>
            <p:cNvSpPr/>
            <p:nvPr/>
          </p:nvSpPr>
          <p:spPr>
            <a:xfrm>
              <a:off x="4717844" y="4808461"/>
              <a:ext cx="2752725" cy="304800"/>
            </a:xfrm>
            <a:custGeom>
              <a:avLst/>
              <a:gdLst>
                <a:gd name="connsiteX0" fmla="*/ 234680 w 2752725"/>
                <a:gd name="connsiteY0" fmla="*/ 5509 h 304800"/>
                <a:gd name="connsiteX1" fmla="*/ 2524204 w 2752725"/>
                <a:gd name="connsiteY1" fmla="*/ 5509 h 304800"/>
                <a:gd name="connsiteX2" fmla="*/ 2751852 w 2752725"/>
                <a:gd name="connsiteY2" fmla="*/ 302974 h 304800"/>
                <a:gd name="connsiteX3" fmla="*/ 5509 w 2752725"/>
                <a:gd name="connsiteY3" fmla="*/ 302974 h 304800"/>
              </a:gdLst>
              <a:ahLst/>
              <a:cxnLst>
                <a:cxn ang="0">
                  <a:pos x="connsiteX0" y="connsiteY0"/>
                </a:cxn>
                <a:cxn ang="0">
                  <a:pos x="connsiteX1" y="connsiteY1"/>
                </a:cxn>
                <a:cxn ang="0">
                  <a:pos x="connsiteX2" y="connsiteY2"/>
                </a:cxn>
                <a:cxn ang="0">
                  <a:pos x="connsiteX3" y="connsiteY3"/>
                </a:cxn>
              </a:cxnLst>
              <a:rect l="l" t="t" r="r" b="b"/>
              <a:pathLst>
                <a:path w="2752725" h="304800">
                  <a:moveTo>
                    <a:pt x="234680" y="5509"/>
                  </a:moveTo>
                  <a:lnTo>
                    <a:pt x="2524204" y="5509"/>
                  </a:lnTo>
                  <a:lnTo>
                    <a:pt x="2751852" y="302974"/>
                  </a:lnTo>
                  <a:lnTo>
                    <a:pt x="5509" y="302974"/>
                  </a:lnTo>
                  <a:close/>
                </a:path>
              </a:pathLst>
            </a:custGeom>
            <a:gradFill>
              <a:gsLst>
                <a:gs pos="0">
                  <a:schemeClr val="tx2">
                    <a:lumMod val="75000"/>
                    <a:alpha val="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50" name="Freeform: Shape 99">
              <a:extLst>
                <a:ext uri="{FF2B5EF4-FFF2-40B4-BE49-F238E27FC236}">
                  <a16:creationId xmlns:a16="http://schemas.microsoft.com/office/drawing/2014/main" id="{C713E559-7990-E83C-FA1B-89B1E328E18E}"/>
                </a:ext>
              </a:extLst>
            </p:cNvPr>
            <p:cNvSpPr/>
            <p:nvPr/>
          </p:nvSpPr>
          <p:spPr>
            <a:xfrm>
              <a:off x="7236540" y="4656156"/>
              <a:ext cx="495300" cy="457200"/>
            </a:xfrm>
            <a:custGeom>
              <a:avLst/>
              <a:gdLst>
                <a:gd name="connsiteX0" fmla="*/ 5509 w 495300"/>
                <a:gd name="connsiteY0" fmla="*/ 157813 h 457200"/>
                <a:gd name="connsiteX1" fmla="*/ 233156 w 495300"/>
                <a:gd name="connsiteY1" fmla="*/ 455279 h 457200"/>
                <a:gd name="connsiteX2" fmla="*/ 494332 w 495300"/>
                <a:gd name="connsiteY2" fmla="*/ 273352 h 457200"/>
                <a:gd name="connsiteX3" fmla="*/ 233156 w 495300"/>
                <a:gd name="connsiteY3" fmla="*/ 5509 h 457200"/>
              </a:gdLst>
              <a:ahLst/>
              <a:cxnLst>
                <a:cxn ang="0">
                  <a:pos x="connsiteX0" y="connsiteY0"/>
                </a:cxn>
                <a:cxn ang="0">
                  <a:pos x="connsiteX1" y="connsiteY1"/>
                </a:cxn>
                <a:cxn ang="0">
                  <a:pos x="connsiteX2" y="connsiteY2"/>
                </a:cxn>
                <a:cxn ang="0">
                  <a:pos x="connsiteX3" y="connsiteY3"/>
                </a:cxn>
              </a:cxnLst>
              <a:rect l="l" t="t" r="r" b="b"/>
              <a:pathLst>
                <a:path w="495300" h="457200">
                  <a:moveTo>
                    <a:pt x="5509" y="157813"/>
                  </a:moveTo>
                  <a:lnTo>
                    <a:pt x="233156" y="455279"/>
                  </a:lnTo>
                  <a:lnTo>
                    <a:pt x="494332" y="273352"/>
                  </a:lnTo>
                  <a:lnTo>
                    <a:pt x="233156" y="5509"/>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pic>
        <p:nvPicPr>
          <p:cNvPr id="13" name="Picture 12">
            <a:extLst>
              <a:ext uri="{FF2B5EF4-FFF2-40B4-BE49-F238E27FC236}">
                <a16:creationId xmlns:a16="http://schemas.microsoft.com/office/drawing/2014/main" id="{BCADEEC7-5203-3113-FEAF-A1A721A3AED7}"/>
              </a:ext>
            </a:extLst>
          </p:cNvPr>
          <p:cNvPicPr>
            <a:picLocks noChangeAspect="1"/>
          </p:cNvPicPr>
          <p:nvPr/>
        </p:nvPicPr>
        <p:blipFill rotWithShape="1">
          <a:blip r:embed="rId2">
            <a:biLevel thresh="25000"/>
          </a:blip>
          <a:srcRect t="27733" b="10926"/>
          <a:stretch/>
        </p:blipFill>
        <p:spPr>
          <a:xfrm>
            <a:off x="3696187" y="4908465"/>
            <a:ext cx="1573334" cy="286952"/>
          </a:xfrm>
          <a:prstGeom prst="rect">
            <a:avLst/>
          </a:prstGeom>
        </p:spPr>
      </p:pic>
      <p:grpSp>
        <p:nvGrpSpPr>
          <p:cNvPr id="14" name="Group 13">
            <a:extLst>
              <a:ext uri="{FF2B5EF4-FFF2-40B4-BE49-F238E27FC236}">
                <a16:creationId xmlns:a16="http://schemas.microsoft.com/office/drawing/2014/main" id="{7D3F80CB-CD57-ED81-3D72-9CC09DF054CB}"/>
              </a:ext>
            </a:extLst>
          </p:cNvPr>
          <p:cNvGrpSpPr/>
          <p:nvPr/>
        </p:nvGrpSpPr>
        <p:grpSpPr>
          <a:xfrm>
            <a:off x="2592181" y="3482358"/>
            <a:ext cx="3588436" cy="1186131"/>
            <a:chOff x="4987906" y="2434170"/>
            <a:chExt cx="2210170" cy="479583"/>
          </a:xfrm>
        </p:grpSpPr>
        <p:sp>
          <p:nvSpPr>
            <p:cNvPr id="37" name="Freeform: Shape 103">
              <a:extLst>
                <a:ext uri="{FF2B5EF4-FFF2-40B4-BE49-F238E27FC236}">
                  <a16:creationId xmlns:a16="http://schemas.microsoft.com/office/drawing/2014/main" id="{05C8F37D-715A-9EEB-1C2B-6E99130A629B}"/>
                </a:ext>
              </a:extLst>
            </p:cNvPr>
            <p:cNvSpPr/>
            <p:nvPr/>
          </p:nvSpPr>
          <p:spPr>
            <a:xfrm>
              <a:off x="4988276" y="2674951"/>
              <a:ext cx="2209800" cy="238125"/>
            </a:xfrm>
            <a:custGeom>
              <a:avLst/>
              <a:gdLst>
                <a:gd name="connsiteX0" fmla="*/ 5509 w 2209800"/>
                <a:gd name="connsiteY0" fmla="*/ 107426 h 238125"/>
                <a:gd name="connsiteX1" fmla="*/ 330216 w 2209800"/>
                <a:gd name="connsiteY1" fmla="*/ 5509 h 238125"/>
                <a:gd name="connsiteX2" fmla="*/ 1883077 w 2209800"/>
                <a:gd name="connsiteY2" fmla="*/ 5509 h 238125"/>
                <a:gd name="connsiteX3" fmla="*/ 2207308 w 2209800"/>
                <a:gd name="connsiteY3" fmla="*/ 111712 h 238125"/>
                <a:gd name="connsiteX4" fmla="*/ 2029762 w 2209800"/>
                <a:gd name="connsiteY4" fmla="*/ 234299 h 238125"/>
                <a:gd name="connsiteX5" fmla="*/ 182959 w 2209800"/>
                <a:gd name="connsiteY5" fmla="*/ 23429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9800" h="238125">
                  <a:moveTo>
                    <a:pt x="5509" y="107426"/>
                  </a:moveTo>
                  <a:lnTo>
                    <a:pt x="330216" y="5509"/>
                  </a:lnTo>
                  <a:lnTo>
                    <a:pt x="1883077" y="5509"/>
                  </a:lnTo>
                  <a:lnTo>
                    <a:pt x="2207308" y="111712"/>
                  </a:lnTo>
                  <a:lnTo>
                    <a:pt x="2029762" y="234299"/>
                  </a:lnTo>
                  <a:lnTo>
                    <a:pt x="182959" y="234299"/>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8" name="Freeform: Shape 104">
              <a:extLst>
                <a:ext uri="{FF2B5EF4-FFF2-40B4-BE49-F238E27FC236}">
                  <a16:creationId xmlns:a16="http://schemas.microsoft.com/office/drawing/2014/main" id="{91C0C59A-3737-06EF-D25D-3597F477F2C0}"/>
                </a:ext>
              </a:extLst>
            </p:cNvPr>
            <p:cNvSpPr/>
            <p:nvPr/>
          </p:nvSpPr>
          <p:spPr>
            <a:xfrm>
              <a:off x="4987906" y="2520371"/>
              <a:ext cx="400050" cy="390525"/>
            </a:xfrm>
            <a:custGeom>
              <a:avLst/>
              <a:gdLst>
                <a:gd name="connsiteX0" fmla="*/ 267435 w 400050"/>
                <a:gd name="connsiteY0" fmla="*/ 5879 h 390525"/>
                <a:gd name="connsiteX1" fmla="*/ 5879 w 400050"/>
                <a:gd name="connsiteY1" fmla="*/ 262006 h 390525"/>
                <a:gd name="connsiteX2" fmla="*/ 183329 w 400050"/>
                <a:gd name="connsiteY2" fmla="*/ 388879 h 390525"/>
                <a:gd name="connsiteX3" fmla="*/ 403643 w 400050"/>
                <a:gd name="connsiteY3" fmla="*/ 101605 h 390525"/>
              </a:gdLst>
              <a:ahLst/>
              <a:cxnLst>
                <a:cxn ang="0">
                  <a:pos x="connsiteX0" y="connsiteY0"/>
                </a:cxn>
                <a:cxn ang="0">
                  <a:pos x="connsiteX1" y="connsiteY1"/>
                </a:cxn>
                <a:cxn ang="0">
                  <a:pos x="connsiteX2" y="connsiteY2"/>
                </a:cxn>
                <a:cxn ang="0">
                  <a:pos x="connsiteX3" y="connsiteY3"/>
                </a:cxn>
              </a:cxnLst>
              <a:rect l="l" t="t" r="r" b="b"/>
              <a:pathLst>
                <a:path w="400050" h="390525">
                  <a:moveTo>
                    <a:pt x="267435" y="5879"/>
                  </a:moveTo>
                  <a:lnTo>
                    <a:pt x="5879" y="262006"/>
                  </a:lnTo>
                  <a:lnTo>
                    <a:pt x="183329" y="388879"/>
                  </a:lnTo>
                  <a:lnTo>
                    <a:pt x="403643" y="101605"/>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9" name="Freeform: Shape 105">
              <a:extLst>
                <a:ext uri="{FF2B5EF4-FFF2-40B4-BE49-F238E27FC236}">
                  <a16:creationId xmlns:a16="http://schemas.microsoft.com/office/drawing/2014/main" id="{FFF8D578-B68D-B78D-60EF-9852A3AC39F0}"/>
                </a:ext>
              </a:extLst>
            </p:cNvPr>
            <p:cNvSpPr/>
            <p:nvPr/>
          </p:nvSpPr>
          <p:spPr>
            <a:xfrm>
              <a:off x="5312613" y="2434170"/>
              <a:ext cx="200025" cy="247650"/>
            </a:xfrm>
            <a:custGeom>
              <a:avLst/>
              <a:gdLst>
                <a:gd name="connsiteX0" fmla="*/ 195617 w 200025"/>
                <a:gd name="connsiteY0" fmla="*/ 5879 h 247650"/>
                <a:gd name="connsiteX1" fmla="*/ 5879 w 200025"/>
                <a:gd name="connsiteY1" fmla="*/ 246290 h 247650"/>
              </a:gdLst>
              <a:ahLst/>
              <a:cxnLst>
                <a:cxn ang="0">
                  <a:pos x="connsiteX0" y="connsiteY0"/>
                </a:cxn>
                <a:cxn ang="0">
                  <a:pos x="connsiteX1" y="connsiteY1"/>
                </a:cxn>
              </a:cxnLst>
              <a:rect l="l" t="t" r="r" b="b"/>
              <a:pathLst>
                <a:path w="200025" h="247650">
                  <a:moveTo>
                    <a:pt x="195617" y="5879"/>
                  </a:moveTo>
                  <a:lnTo>
                    <a:pt x="5879" y="246290"/>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0" name="Freeform: Shape 106">
              <a:extLst>
                <a:ext uri="{FF2B5EF4-FFF2-40B4-BE49-F238E27FC236}">
                  <a16:creationId xmlns:a16="http://schemas.microsoft.com/office/drawing/2014/main" id="{2CE8A073-8272-DCBB-8264-689EE2EA3FB5}"/>
                </a:ext>
              </a:extLst>
            </p:cNvPr>
            <p:cNvSpPr/>
            <p:nvPr/>
          </p:nvSpPr>
          <p:spPr>
            <a:xfrm>
              <a:off x="6671449" y="2434170"/>
              <a:ext cx="200025" cy="247650"/>
            </a:xfrm>
            <a:custGeom>
              <a:avLst/>
              <a:gdLst>
                <a:gd name="connsiteX0" fmla="*/ 5879 w 200025"/>
                <a:gd name="connsiteY0" fmla="*/ 5879 h 247650"/>
                <a:gd name="connsiteX1" fmla="*/ 199903 w 200025"/>
                <a:gd name="connsiteY1" fmla="*/ 246290 h 247650"/>
              </a:gdLst>
              <a:ahLst/>
              <a:cxnLst>
                <a:cxn ang="0">
                  <a:pos x="connsiteX0" y="connsiteY0"/>
                </a:cxn>
                <a:cxn ang="0">
                  <a:pos x="connsiteX1" y="connsiteY1"/>
                </a:cxn>
              </a:cxnLst>
              <a:rect l="l" t="t" r="r" b="b"/>
              <a:pathLst>
                <a:path w="200025" h="247650">
                  <a:moveTo>
                    <a:pt x="5879" y="5879"/>
                  </a:moveTo>
                  <a:lnTo>
                    <a:pt x="199903" y="246290"/>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1" name="Freeform: Shape 107">
              <a:extLst>
                <a:ext uri="{FF2B5EF4-FFF2-40B4-BE49-F238E27FC236}">
                  <a16:creationId xmlns:a16="http://schemas.microsoft.com/office/drawing/2014/main" id="{1FDE9CA7-DB89-00EB-EDE3-A150BA281166}"/>
                </a:ext>
              </a:extLst>
            </p:cNvPr>
            <p:cNvSpPr/>
            <p:nvPr/>
          </p:nvSpPr>
          <p:spPr>
            <a:xfrm>
              <a:off x="5250214" y="2434922"/>
              <a:ext cx="1676400" cy="190500"/>
            </a:xfrm>
            <a:custGeom>
              <a:avLst/>
              <a:gdLst>
                <a:gd name="connsiteX0" fmla="*/ 5126 w 1676400"/>
                <a:gd name="connsiteY0" fmla="*/ 91328 h 190500"/>
                <a:gd name="connsiteX1" fmla="*/ 258015 w 1676400"/>
                <a:gd name="connsiteY1" fmla="*/ 5126 h 190500"/>
                <a:gd name="connsiteX2" fmla="*/ 1427114 w 1676400"/>
                <a:gd name="connsiteY2" fmla="*/ 5126 h 190500"/>
                <a:gd name="connsiteX3" fmla="*/ 1678097 w 1676400"/>
                <a:gd name="connsiteY3" fmla="*/ 94185 h 190500"/>
                <a:gd name="connsiteX4" fmla="*/ 1542080 w 1676400"/>
                <a:gd name="connsiteY4" fmla="*/ 187054 h 190500"/>
                <a:gd name="connsiteX5" fmla="*/ 140667 w 1676400"/>
                <a:gd name="connsiteY5" fmla="*/ 1870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400" h="190500">
                  <a:moveTo>
                    <a:pt x="5126" y="91328"/>
                  </a:moveTo>
                  <a:lnTo>
                    <a:pt x="258015" y="5126"/>
                  </a:lnTo>
                  <a:lnTo>
                    <a:pt x="1427114" y="5126"/>
                  </a:lnTo>
                  <a:lnTo>
                    <a:pt x="1678097" y="94185"/>
                  </a:lnTo>
                  <a:lnTo>
                    <a:pt x="1542080" y="187054"/>
                  </a:lnTo>
                  <a:lnTo>
                    <a:pt x="140667" y="187054"/>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2" name="Freeform: Shape 108">
              <a:extLst>
                <a:ext uri="{FF2B5EF4-FFF2-40B4-BE49-F238E27FC236}">
                  <a16:creationId xmlns:a16="http://schemas.microsoft.com/office/drawing/2014/main" id="{F5CB399B-7DCD-F2EA-AD7D-A8C5CE9C5E26}"/>
                </a:ext>
              </a:extLst>
            </p:cNvPr>
            <p:cNvSpPr/>
            <p:nvPr/>
          </p:nvSpPr>
          <p:spPr>
            <a:xfrm>
              <a:off x="5165356" y="2616098"/>
              <a:ext cx="1857375" cy="295275"/>
            </a:xfrm>
            <a:custGeom>
              <a:avLst/>
              <a:gdLst>
                <a:gd name="connsiteX0" fmla="*/ 5879 w 1857375"/>
                <a:gd name="connsiteY0" fmla="*/ 293153 h 295275"/>
                <a:gd name="connsiteX1" fmla="*/ 1852681 w 1857375"/>
                <a:gd name="connsiteY1" fmla="*/ 293153 h 295275"/>
                <a:gd name="connsiteX2" fmla="*/ 1626938 w 1857375"/>
                <a:gd name="connsiteY2" fmla="*/ 5879 h 295275"/>
                <a:gd name="connsiteX3" fmla="*/ 226192 w 1857375"/>
                <a:gd name="connsiteY3" fmla="*/ 5879 h 295275"/>
              </a:gdLst>
              <a:ahLst/>
              <a:cxnLst>
                <a:cxn ang="0">
                  <a:pos x="connsiteX0" y="connsiteY0"/>
                </a:cxn>
                <a:cxn ang="0">
                  <a:pos x="connsiteX1" y="connsiteY1"/>
                </a:cxn>
                <a:cxn ang="0">
                  <a:pos x="connsiteX2" y="connsiteY2"/>
                </a:cxn>
                <a:cxn ang="0">
                  <a:pos x="connsiteX3" y="connsiteY3"/>
                </a:cxn>
              </a:cxnLst>
              <a:rect l="l" t="t" r="r" b="b"/>
              <a:pathLst>
                <a:path w="1857375" h="295275">
                  <a:moveTo>
                    <a:pt x="5879" y="293153"/>
                  </a:moveTo>
                  <a:lnTo>
                    <a:pt x="1852681" y="293153"/>
                  </a:lnTo>
                  <a:lnTo>
                    <a:pt x="1626938" y="5879"/>
                  </a:lnTo>
                  <a:lnTo>
                    <a:pt x="226192" y="5879"/>
                  </a:lnTo>
                  <a:close/>
                </a:path>
              </a:pathLst>
            </a:custGeom>
            <a:gradFill>
              <a:gsLst>
                <a:gs pos="0">
                  <a:schemeClr val="tx2">
                    <a:lumMod val="75000"/>
                    <a:alpha val="2900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43" name="Freeform: Shape 109">
              <a:extLst>
                <a:ext uri="{FF2B5EF4-FFF2-40B4-BE49-F238E27FC236}">
                  <a16:creationId xmlns:a16="http://schemas.microsoft.com/office/drawing/2014/main" id="{C188ACD8-802B-08EE-6AC0-B15B732E5D83}"/>
                </a:ext>
              </a:extLst>
            </p:cNvPr>
            <p:cNvSpPr/>
            <p:nvPr/>
          </p:nvSpPr>
          <p:spPr>
            <a:xfrm>
              <a:off x="6786416" y="2523228"/>
              <a:ext cx="409575" cy="390525"/>
            </a:xfrm>
            <a:custGeom>
              <a:avLst/>
              <a:gdLst>
                <a:gd name="connsiteX0" fmla="*/ 141896 w 409575"/>
                <a:gd name="connsiteY0" fmla="*/ 5879 h 390525"/>
                <a:gd name="connsiteX1" fmla="*/ 409167 w 409575"/>
                <a:gd name="connsiteY1" fmla="*/ 263435 h 390525"/>
                <a:gd name="connsiteX2" fmla="*/ 231621 w 409575"/>
                <a:gd name="connsiteY2" fmla="*/ 386021 h 390525"/>
                <a:gd name="connsiteX3" fmla="*/ 5879 w 409575"/>
                <a:gd name="connsiteY3" fmla="*/ 98747 h 390525"/>
              </a:gdLst>
              <a:ahLst/>
              <a:cxnLst>
                <a:cxn ang="0">
                  <a:pos x="connsiteX0" y="connsiteY0"/>
                </a:cxn>
                <a:cxn ang="0">
                  <a:pos x="connsiteX1" y="connsiteY1"/>
                </a:cxn>
                <a:cxn ang="0">
                  <a:pos x="connsiteX2" y="connsiteY2"/>
                </a:cxn>
                <a:cxn ang="0">
                  <a:pos x="connsiteX3" y="connsiteY3"/>
                </a:cxn>
              </a:cxnLst>
              <a:rect l="l" t="t" r="r" b="b"/>
              <a:pathLst>
                <a:path w="409575" h="390525">
                  <a:moveTo>
                    <a:pt x="141896" y="5879"/>
                  </a:moveTo>
                  <a:lnTo>
                    <a:pt x="409167" y="263435"/>
                  </a:lnTo>
                  <a:lnTo>
                    <a:pt x="231621" y="386021"/>
                  </a:lnTo>
                  <a:lnTo>
                    <a:pt x="5879" y="98747"/>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pic>
        <p:nvPicPr>
          <p:cNvPr id="15" name="Picture 14">
            <a:extLst>
              <a:ext uri="{FF2B5EF4-FFF2-40B4-BE49-F238E27FC236}">
                <a16:creationId xmlns:a16="http://schemas.microsoft.com/office/drawing/2014/main" id="{CBBF9ACD-4DF5-9CD6-81FF-512EF59B1CFA}"/>
              </a:ext>
            </a:extLst>
          </p:cNvPr>
          <p:cNvPicPr>
            <a:picLocks noChangeAspect="1"/>
          </p:cNvPicPr>
          <p:nvPr/>
        </p:nvPicPr>
        <p:blipFill>
          <a:blip r:embed="rId3">
            <a:biLevel thresh="25000"/>
          </a:blip>
          <a:stretch>
            <a:fillRect/>
          </a:stretch>
        </p:blipFill>
        <p:spPr>
          <a:xfrm>
            <a:off x="3716567" y="4217686"/>
            <a:ext cx="1351522" cy="320135"/>
          </a:xfrm>
          <a:prstGeom prst="rect">
            <a:avLst/>
          </a:prstGeom>
        </p:spPr>
      </p:pic>
      <p:grpSp>
        <p:nvGrpSpPr>
          <p:cNvPr id="16" name="Group 15">
            <a:extLst>
              <a:ext uri="{FF2B5EF4-FFF2-40B4-BE49-F238E27FC236}">
                <a16:creationId xmlns:a16="http://schemas.microsoft.com/office/drawing/2014/main" id="{5C9E667A-FDDE-7BEB-21C5-6F9D386E8E44}"/>
              </a:ext>
            </a:extLst>
          </p:cNvPr>
          <p:cNvGrpSpPr/>
          <p:nvPr/>
        </p:nvGrpSpPr>
        <p:grpSpPr>
          <a:xfrm>
            <a:off x="3023254" y="2898708"/>
            <a:ext cx="2726288" cy="1053005"/>
            <a:chOff x="5255827" y="3212714"/>
            <a:chExt cx="1679162" cy="425757"/>
          </a:xfrm>
        </p:grpSpPr>
        <p:sp>
          <p:nvSpPr>
            <p:cNvPr id="30" name="Freeform: Shape 112">
              <a:extLst>
                <a:ext uri="{FF2B5EF4-FFF2-40B4-BE49-F238E27FC236}">
                  <a16:creationId xmlns:a16="http://schemas.microsoft.com/office/drawing/2014/main" id="{C1DD7FC5-FAEA-D3E8-4FEE-0E86956610AE}"/>
                </a:ext>
              </a:extLst>
            </p:cNvPr>
            <p:cNvSpPr/>
            <p:nvPr/>
          </p:nvSpPr>
          <p:spPr>
            <a:xfrm>
              <a:off x="5256579" y="3447971"/>
              <a:ext cx="1676400" cy="190500"/>
            </a:xfrm>
            <a:custGeom>
              <a:avLst/>
              <a:gdLst>
                <a:gd name="connsiteX0" fmla="*/ 5126 w 1676400"/>
                <a:gd name="connsiteY0" fmla="*/ 91328 h 190500"/>
                <a:gd name="connsiteX1" fmla="*/ 258015 w 1676400"/>
                <a:gd name="connsiteY1" fmla="*/ 5126 h 190500"/>
                <a:gd name="connsiteX2" fmla="*/ 1427114 w 1676400"/>
                <a:gd name="connsiteY2" fmla="*/ 5126 h 190500"/>
                <a:gd name="connsiteX3" fmla="*/ 1678193 w 1676400"/>
                <a:gd name="connsiteY3" fmla="*/ 94185 h 190500"/>
                <a:gd name="connsiteX4" fmla="*/ 1542080 w 1676400"/>
                <a:gd name="connsiteY4" fmla="*/ 187054 h 190500"/>
                <a:gd name="connsiteX5" fmla="*/ 140762 w 1676400"/>
                <a:gd name="connsiteY5" fmla="*/ 1870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400" h="190500">
                  <a:moveTo>
                    <a:pt x="5126" y="91328"/>
                  </a:moveTo>
                  <a:lnTo>
                    <a:pt x="258015" y="5126"/>
                  </a:lnTo>
                  <a:lnTo>
                    <a:pt x="1427114" y="5126"/>
                  </a:lnTo>
                  <a:lnTo>
                    <a:pt x="1678193" y="94185"/>
                  </a:lnTo>
                  <a:lnTo>
                    <a:pt x="1542080" y="187054"/>
                  </a:lnTo>
                  <a:lnTo>
                    <a:pt x="140762" y="187054"/>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1" name="Freeform: Shape 113">
              <a:extLst>
                <a:ext uri="{FF2B5EF4-FFF2-40B4-BE49-F238E27FC236}">
                  <a16:creationId xmlns:a16="http://schemas.microsoft.com/office/drawing/2014/main" id="{E67C02B4-63B5-D344-7048-959B6CD7C266}"/>
                </a:ext>
              </a:extLst>
            </p:cNvPr>
            <p:cNvSpPr/>
            <p:nvPr/>
          </p:nvSpPr>
          <p:spPr>
            <a:xfrm>
              <a:off x="5255827" y="3283294"/>
              <a:ext cx="361950" cy="352425"/>
            </a:xfrm>
            <a:custGeom>
              <a:avLst/>
              <a:gdLst>
                <a:gd name="connsiteX0" fmla="*/ 268388 w 361950"/>
                <a:gd name="connsiteY0" fmla="*/ 5879 h 352425"/>
                <a:gd name="connsiteX1" fmla="*/ 5879 w 361950"/>
                <a:gd name="connsiteY1" fmla="*/ 256005 h 352425"/>
                <a:gd name="connsiteX2" fmla="*/ 141515 w 361950"/>
                <a:gd name="connsiteY2" fmla="*/ 351731 h 352425"/>
                <a:gd name="connsiteX3" fmla="*/ 363352 w 361950"/>
                <a:gd name="connsiteY3" fmla="*/ 70363 h 352425"/>
              </a:gdLst>
              <a:ahLst/>
              <a:cxnLst>
                <a:cxn ang="0">
                  <a:pos x="connsiteX0" y="connsiteY0"/>
                </a:cxn>
                <a:cxn ang="0">
                  <a:pos x="connsiteX1" y="connsiteY1"/>
                </a:cxn>
                <a:cxn ang="0">
                  <a:pos x="connsiteX2" y="connsiteY2"/>
                </a:cxn>
                <a:cxn ang="0">
                  <a:pos x="connsiteX3" y="connsiteY3"/>
                </a:cxn>
              </a:cxnLst>
              <a:rect l="l" t="t" r="r" b="b"/>
              <a:pathLst>
                <a:path w="361950" h="352425">
                  <a:moveTo>
                    <a:pt x="268388" y="5879"/>
                  </a:moveTo>
                  <a:lnTo>
                    <a:pt x="5879" y="256005"/>
                  </a:lnTo>
                  <a:lnTo>
                    <a:pt x="141515" y="351731"/>
                  </a:lnTo>
                  <a:lnTo>
                    <a:pt x="363352" y="70363"/>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2" name="Freeform: Shape 114">
              <a:extLst>
                <a:ext uri="{FF2B5EF4-FFF2-40B4-BE49-F238E27FC236}">
                  <a16:creationId xmlns:a16="http://schemas.microsoft.com/office/drawing/2014/main" id="{8AFD748B-88FD-87B6-5EA7-06DCBB8ED259}"/>
                </a:ext>
              </a:extLst>
            </p:cNvPr>
            <p:cNvSpPr/>
            <p:nvPr/>
          </p:nvSpPr>
          <p:spPr>
            <a:xfrm>
              <a:off x="5508715" y="3212714"/>
              <a:ext cx="200025" cy="238125"/>
            </a:xfrm>
            <a:custGeom>
              <a:avLst/>
              <a:gdLst>
                <a:gd name="connsiteX0" fmla="*/ 198474 w 200025"/>
                <a:gd name="connsiteY0" fmla="*/ 5879 h 238125"/>
                <a:gd name="connsiteX1" fmla="*/ 5879 w 200025"/>
                <a:gd name="connsiteY1" fmla="*/ 240384 h 238125"/>
              </a:gdLst>
              <a:ahLst/>
              <a:cxnLst>
                <a:cxn ang="0">
                  <a:pos x="connsiteX0" y="connsiteY0"/>
                </a:cxn>
                <a:cxn ang="0">
                  <a:pos x="connsiteX1" y="connsiteY1"/>
                </a:cxn>
              </a:cxnLst>
              <a:rect l="l" t="t" r="r" b="b"/>
              <a:pathLst>
                <a:path w="200025" h="238125">
                  <a:moveTo>
                    <a:pt x="198474" y="5879"/>
                  </a:moveTo>
                  <a:lnTo>
                    <a:pt x="5879" y="240384"/>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3" name="Freeform: Shape 115">
              <a:extLst>
                <a:ext uri="{FF2B5EF4-FFF2-40B4-BE49-F238E27FC236}">
                  <a16:creationId xmlns:a16="http://schemas.microsoft.com/office/drawing/2014/main" id="{6B9C60F1-8AE7-4E05-C350-2C377BF91D3C}"/>
                </a:ext>
              </a:extLst>
            </p:cNvPr>
            <p:cNvSpPr/>
            <p:nvPr/>
          </p:nvSpPr>
          <p:spPr>
            <a:xfrm>
              <a:off x="6498553" y="3212714"/>
              <a:ext cx="190500" cy="238125"/>
            </a:xfrm>
            <a:custGeom>
              <a:avLst/>
              <a:gdLst>
                <a:gd name="connsiteX0" fmla="*/ 5879 w 190500"/>
                <a:gd name="connsiteY0" fmla="*/ 5879 h 238125"/>
                <a:gd name="connsiteX1" fmla="*/ 185139 w 190500"/>
                <a:gd name="connsiteY1" fmla="*/ 240384 h 238125"/>
              </a:gdLst>
              <a:ahLst/>
              <a:cxnLst>
                <a:cxn ang="0">
                  <a:pos x="connsiteX0" y="connsiteY0"/>
                </a:cxn>
                <a:cxn ang="0">
                  <a:pos x="connsiteX1" y="connsiteY1"/>
                </a:cxn>
              </a:cxnLst>
              <a:rect l="l" t="t" r="r" b="b"/>
              <a:pathLst>
                <a:path w="190500" h="238125">
                  <a:moveTo>
                    <a:pt x="5879" y="5879"/>
                  </a:moveTo>
                  <a:lnTo>
                    <a:pt x="185139" y="240384"/>
                  </a:lnTo>
                </a:path>
              </a:pathLst>
            </a:custGeom>
            <a:gradFill>
              <a:gsLst>
                <a:gs pos="0">
                  <a:schemeClr val="tx2">
                    <a:lumMod val="75000"/>
                    <a:alpha val="49000"/>
                  </a:schemeClr>
                </a:gs>
                <a:gs pos="100000">
                  <a:srgbClr val="0A0B10">
                    <a:alpha val="0"/>
                  </a:srgbClr>
                </a:gs>
              </a:gsLst>
              <a:lin ang="36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4" name="Freeform: Shape 116">
              <a:extLst>
                <a:ext uri="{FF2B5EF4-FFF2-40B4-BE49-F238E27FC236}">
                  <a16:creationId xmlns:a16="http://schemas.microsoft.com/office/drawing/2014/main" id="{7BF39BE5-0322-79E8-F1A5-2C2B37EDADFC}"/>
                </a:ext>
              </a:extLst>
            </p:cNvPr>
            <p:cNvSpPr/>
            <p:nvPr/>
          </p:nvSpPr>
          <p:spPr>
            <a:xfrm>
              <a:off x="5519481" y="3213859"/>
              <a:ext cx="1162050" cy="142875"/>
            </a:xfrm>
            <a:custGeom>
              <a:avLst/>
              <a:gdLst>
                <a:gd name="connsiteX0" fmla="*/ 4733 w 1162050"/>
                <a:gd name="connsiteY0" fmla="*/ 75314 h 142875"/>
                <a:gd name="connsiteX1" fmla="*/ 187709 w 1162050"/>
                <a:gd name="connsiteY1" fmla="*/ 4733 h 142875"/>
                <a:gd name="connsiteX2" fmla="*/ 984951 w 1162050"/>
                <a:gd name="connsiteY2" fmla="*/ 4733 h 142875"/>
                <a:gd name="connsiteX3" fmla="*/ 1164783 w 1162050"/>
                <a:gd name="connsiteY3" fmla="*/ 76742 h 142875"/>
                <a:gd name="connsiteX4" fmla="*/ 1068962 w 1162050"/>
                <a:gd name="connsiteY4" fmla="*/ 139798 h 142875"/>
                <a:gd name="connsiteX5" fmla="*/ 99698 w 1162050"/>
                <a:gd name="connsiteY5" fmla="*/ 13979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2050" h="142875">
                  <a:moveTo>
                    <a:pt x="4733" y="75314"/>
                  </a:moveTo>
                  <a:lnTo>
                    <a:pt x="187709" y="4733"/>
                  </a:lnTo>
                  <a:lnTo>
                    <a:pt x="984951" y="4733"/>
                  </a:lnTo>
                  <a:lnTo>
                    <a:pt x="1164783" y="76742"/>
                  </a:lnTo>
                  <a:lnTo>
                    <a:pt x="1068962" y="139798"/>
                  </a:lnTo>
                  <a:lnTo>
                    <a:pt x="99698" y="139798"/>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5" name="Freeform: Shape 117">
              <a:extLst>
                <a:ext uri="{FF2B5EF4-FFF2-40B4-BE49-F238E27FC236}">
                  <a16:creationId xmlns:a16="http://schemas.microsoft.com/office/drawing/2014/main" id="{5F5DDB6C-4029-F744-AB0A-F3A9467B78EC}"/>
                </a:ext>
              </a:extLst>
            </p:cNvPr>
            <p:cNvSpPr/>
            <p:nvPr/>
          </p:nvSpPr>
          <p:spPr>
            <a:xfrm>
              <a:off x="5392129" y="3347778"/>
              <a:ext cx="1409700" cy="285750"/>
            </a:xfrm>
            <a:custGeom>
              <a:avLst/>
              <a:gdLst>
                <a:gd name="connsiteX0" fmla="*/ 1406530 w 1409700"/>
                <a:gd name="connsiteY0" fmla="*/ 287247 h 285750"/>
                <a:gd name="connsiteX1" fmla="*/ 5879 w 1409700"/>
                <a:gd name="connsiteY1" fmla="*/ 287247 h 285750"/>
                <a:gd name="connsiteX2" fmla="*/ 227049 w 1409700"/>
                <a:gd name="connsiteY2" fmla="*/ 5879 h 285750"/>
                <a:gd name="connsiteX3" fmla="*/ 1196313 w 1409700"/>
                <a:gd name="connsiteY3" fmla="*/ 5879 h 285750"/>
              </a:gdLst>
              <a:ahLst/>
              <a:cxnLst>
                <a:cxn ang="0">
                  <a:pos x="connsiteX0" y="connsiteY0"/>
                </a:cxn>
                <a:cxn ang="0">
                  <a:pos x="connsiteX1" y="connsiteY1"/>
                </a:cxn>
                <a:cxn ang="0">
                  <a:pos x="connsiteX2" y="connsiteY2"/>
                </a:cxn>
                <a:cxn ang="0">
                  <a:pos x="connsiteX3" y="connsiteY3"/>
                </a:cxn>
              </a:cxnLst>
              <a:rect l="l" t="t" r="r" b="b"/>
              <a:pathLst>
                <a:path w="1409700" h="285750">
                  <a:moveTo>
                    <a:pt x="1406530" y="287247"/>
                  </a:moveTo>
                  <a:lnTo>
                    <a:pt x="5879" y="287247"/>
                  </a:lnTo>
                  <a:lnTo>
                    <a:pt x="227049" y="5879"/>
                  </a:lnTo>
                  <a:lnTo>
                    <a:pt x="1196313" y="5879"/>
                  </a:lnTo>
                  <a:close/>
                </a:path>
              </a:pathLst>
            </a:custGeom>
            <a:gradFill>
              <a:gsLst>
                <a:gs pos="0">
                  <a:schemeClr val="tx2">
                    <a:lumMod val="75000"/>
                    <a:alpha val="3100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36" name="Freeform: Shape 118">
              <a:extLst>
                <a:ext uri="{FF2B5EF4-FFF2-40B4-BE49-F238E27FC236}">
                  <a16:creationId xmlns:a16="http://schemas.microsoft.com/office/drawing/2014/main" id="{50F9D748-B0C3-8B80-43A7-D0BEF9756377}"/>
                </a:ext>
              </a:extLst>
            </p:cNvPr>
            <p:cNvSpPr/>
            <p:nvPr/>
          </p:nvSpPr>
          <p:spPr>
            <a:xfrm>
              <a:off x="6582564" y="3284723"/>
              <a:ext cx="352425" cy="352425"/>
            </a:xfrm>
            <a:custGeom>
              <a:avLst/>
              <a:gdLst>
                <a:gd name="connsiteX0" fmla="*/ 101700 w 352425"/>
                <a:gd name="connsiteY0" fmla="*/ 5879 h 352425"/>
                <a:gd name="connsiteX1" fmla="*/ 352208 w 352425"/>
                <a:gd name="connsiteY1" fmla="*/ 257434 h 352425"/>
                <a:gd name="connsiteX2" fmla="*/ 216095 w 352425"/>
                <a:gd name="connsiteY2" fmla="*/ 350303 h 352425"/>
                <a:gd name="connsiteX3" fmla="*/ 5879 w 352425"/>
                <a:gd name="connsiteY3" fmla="*/ 68934 h 352425"/>
              </a:gdLst>
              <a:ahLst/>
              <a:cxnLst>
                <a:cxn ang="0">
                  <a:pos x="connsiteX0" y="connsiteY0"/>
                </a:cxn>
                <a:cxn ang="0">
                  <a:pos x="connsiteX1" y="connsiteY1"/>
                </a:cxn>
                <a:cxn ang="0">
                  <a:pos x="connsiteX2" y="connsiteY2"/>
                </a:cxn>
                <a:cxn ang="0">
                  <a:pos x="connsiteX3" y="connsiteY3"/>
                </a:cxn>
              </a:cxnLst>
              <a:rect l="l" t="t" r="r" b="b"/>
              <a:pathLst>
                <a:path w="352425" h="352425">
                  <a:moveTo>
                    <a:pt x="101700" y="5879"/>
                  </a:moveTo>
                  <a:lnTo>
                    <a:pt x="352208" y="257434"/>
                  </a:lnTo>
                  <a:lnTo>
                    <a:pt x="216095" y="350303"/>
                  </a:lnTo>
                  <a:lnTo>
                    <a:pt x="5879" y="68934"/>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grpSp>
        <p:nvGrpSpPr>
          <p:cNvPr id="18" name="Group 17">
            <a:extLst>
              <a:ext uri="{FF2B5EF4-FFF2-40B4-BE49-F238E27FC236}">
                <a16:creationId xmlns:a16="http://schemas.microsoft.com/office/drawing/2014/main" id="{ADC16AAE-DA7E-AEC1-F46A-91BABA5587B9}"/>
              </a:ext>
            </a:extLst>
          </p:cNvPr>
          <p:cNvGrpSpPr/>
          <p:nvPr/>
        </p:nvGrpSpPr>
        <p:grpSpPr>
          <a:xfrm>
            <a:off x="3442115" y="2474809"/>
            <a:ext cx="1888565" cy="780685"/>
            <a:chOff x="5508239" y="3698877"/>
            <a:chExt cx="1163195" cy="315651"/>
          </a:xfrm>
        </p:grpSpPr>
        <p:sp>
          <p:nvSpPr>
            <p:cNvPr id="25" name="Freeform: Shape 121">
              <a:extLst>
                <a:ext uri="{FF2B5EF4-FFF2-40B4-BE49-F238E27FC236}">
                  <a16:creationId xmlns:a16="http://schemas.microsoft.com/office/drawing/2014/main" id="{5F1D00CF-D06D-314D-8CA7-74D5B45F00D1}"/>
                </a:ext>
              </a:extLst>
            </p:cNvPr>
            <p:cNvSpPr/>
            <p:nvPr/>
          </p:nvSpPr>
          <p:spPr>
            <a:xfrm>
              <a:off x="5509384" y="3871179"/>
              <a:ext cx="1162050" cy="142875"/>
            </a:xfrm>
            <a:custGeom>
              <a:avLst/>
              <a:gdLst>
                <a:gd name="connsiteX0" fmla="*/ 4733 w 1162050"/>
                <a:gd name="connsiteY0" fmla="*/ 75218 h 142875"/>
                <a:gd name="connsiteX1" fmla="*/ 187709 w 1162050"/>
                <a:gd name="connsiteY1" fmla="*/ 4733 h 142875"/>
                <a:gd name="connsiteX2" fmla="*/ 984951 w 1162050"/>
                <a:gd name="connsiteY2" fmla="*/ 4733 h 142875"/>
                <a:gd name="connsiteX3" fmla="*/ 1164879 w 1162050"/>
                <a:gd name="connsiteY3" fmla="*/ 76647 h 142875"/>
                <a:gd name="connsiteX4" fmla="*/ 1069057 w 1162050"/>
                <a:gd name="connsiteY4" fmla="*/ 139798 h 142875"/>
                <a:gd name="connsiteX5" fmla="*/ 99698 w 1162050"/>
                <a:gd name="connsiteY5" fmla="*/ 13979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2050" h="142875">
                  <a:moveTo>
                    <a:pt x="4733" y="75218"/>
                  </a:moveTo>
                  <a:lnTo>
                    <a:pt x="187709" y="4733"/>
                  </a:lnTo>
                  <a:lnTo>
                    <a:pt x="984951" y="4733"/>
                  </a:lnTo>
                  <a:lnTo>
                    <a:pt x="1164879" y="76647"/>
                  </a:lnTo>
                  <a:lnTo>
                    <a:pt x="1069057" y="139798"/>
                  </a:lnTo>
                  <a:lnTo>
                    <a:pt x="99698" y="139798"/>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6" name="Freeform: Shape 122">
              <a:extLst>
                <a:ext uri="{FF2B5EF4-FFF2-40B4-BE49-F238E27FC236}">
                  <a16:creationId xmlns:a16="http://schemas.microsoft.com/office/drawing/2014/main" id="{972349B0-4A7B-467F-D023-DAE13186B203}"/>
                </a:ext>
              </a:extLst>
            </p:cNvPr>
            <p:cNvSpPr/>
            <p:nvPr/>
          </p:nvSpPr>
          <p:spPr>
            <a:xfrm>
              <a:off x="5508239" y="3752495"/>
              <a:ext cx="266700" cy="257175"/>
            </a:xfrm>
            <a:custGeom>
              <a:avLst/>
              <a:gdLst>
                <a:gd name="connsiteX0" fmla="*/ 197045 w 266700"/>
                <a:gd name="connsiteY0" fmla="*/ 5879 h 257175"/>
                <a:gd name="connsiteX1" fmla="*/ 5879 w 266700"/>
                <a:gd name="connsiteY1" fmla="*/ 193902 h 257175"/>
                <a:gd name="connsiteX2" fmla="*/ 100843 w 266700"/>
                <a:gd name="connsiteY2" fmla="*/ 258482 h 257175"/>
                <a:gd name="connsiteX3" fmla="*/ 261530 w 266700"/>
                <a:gd name="connsiteY3" fmla="*/ 39311 h 257175"/>
              </a:gdLst>
              <a:ahLst/>
              <a:cxnLst>
                <a:cxn ang="0">
                  <a:pos x="connsiteX0" y="connsiteY0"/>
                </a:cxn>
                <a:cxn ang="0">
                  <a:pos x="connsiteX1" y="connsiteY1"/>
                </a:cxn>
                <a:cxn ang="0">
                  <a:pos x="connsiteX2" y="connsiteY2"/>
                </a:cxn>
                <a:cxn ang="0">
                  <a:pos x="connsiteX3" y="connsiteY3"/>
                </a:cxn>
              </a:cxnLst>
              <a:rect l="l" t="t" r="r" b="b"/>
              <a:pathLst>
                <a:path w="266700" h="257175">
                  <a:moveTo>
                    <a:pt x="197045" y="5879"/>
                  </a:moveTo>
                  <a:lnTo>
                    <a:pt x="5879" y="193902"/>
                  </a:lnTo>
                  <a:lnTo>
                    <a:pt x="100843" y="258482"/>
                  </a:lnTo>
                  <a:lnTo>
                    <a:pt x="261530" y="39311"/>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7" name="Freeform: Shape 123">
              <a:extLst>
                <a:ext uri="{FF2B5EF4-FFF2-40B4-BE49-F238E27FC236}">
                  <a16:creationId xmlns:a16="http://schemas.microsoft.com/office/drawing/2014/main" id="{F3A8D390-91ED-4B17-DE12-9E8F876DCC0E}"/>
                </a:ext>
              </a:extLst>
            </p:cNvPr>
            <p:cNvSpPr/>
            <p:nvPr/>
          </p:nvSpPr>
          <p:spPr>
            <a:xfrm>
              <a:off x="5700651" y="3698877"/>
              <a:ext cx="771525" cy="95250"/>
            </a:xfrm>
            <a:custGeom>
              <a:avLst/>
              <a:gdLst>
                <a:gd name="connsiteX0" fmla="*/ 4633 w 771525"/>
                <a:gd name="connsiteY0" fmla="*/ 59497 h 95250"/>
                <a:gd name="connsiteX1" fmla="*/ 137793 w 771525"/>
                <a:gd name="connsiteY1" fmla="*/ 4633 h 95250"/>
                <a:gd name="connsiteX2" fmla="*/ 646809 w 771525"/>
                <a:gd name="connsiteY2" fmla="*/ 4633 h 95250"/>
                <a:gd name="connsiteX3" fmla="*/ 775206 w 771525"/>
                <a:gd name="connsiteY3" fmla="*/ 59497 h 95250"/>
                <a:gd name="connsiteX4" fmla="*/ 709293 w 771525"/>
                <a:gd name="connsiteY4" fmla="*/ 92930 h 95250"/>
                <a:gd name="connsiteX5" fmla="*/ 69118 w 771525"/>
                <a:gd name="connsiteY5" fmla="*/ 9293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525" h="95250">
                  <a:moveTo>
                    <a:pt x="4633" y="59497"/>
                  </a:moveTo>
                  <a:lnTo>
                    <a:pt x="137793" y="4633"/>
                  </a:lnTo>
                  <a:lnTo>
                    <a:pt x="646809" y="4633"/>
                  </a:lnTo>
                  <a:lnTo>
                    <a:pt x="775206" y="59497"/>
                  </a:lnTo>
                  <a:lnTo>
                    <a:pt x="709293" y="92930"/>
                  </a:lnTo>
                  <a:lnTo>
                    <a:pt x="69118" y="92930"/>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8" name="Freeform: Shape 124">
              <a:extLst>
                <a:ext uri="{FF2B5EF4-FFF2-40B4-BE49-F238E27FC236}">
                  <a16:creationId xmlns:a16="http://schemas.microsoft.com/office/drawing/2014/main" id="{3C209A96-5206-31CA-7A14-D66575D6C6D0}"/>
                </a:ext>
              </a:extLst>
            </p:cNvPr>
            <p:cNvSpPr/>
            <p:nvPr/>
          </p:nvSpPr>
          <p:spPr>
            <a:xfrm>
              <a:off x="6404065" y="3752495"/>
              <a:ext cx="266700" cy="257175"/>
            </a:xfrm>
            <a:custGeom>
              <a:avLst/>
              <a:gdLst>
                <a:gd name="connsiteX0" fmla="*/ 174376 w 266700"/>
                <a:gd name="connsiteY0" fmla="*/ 258482 h 257175"/>
                <a:gd name="connsiteX1" fmla="*/ 270197 w 266700"/>
                <a:gd name="connsiteY1" fmla="*/ 195331 h 257175"/>
                <a:gd name="connsiteX2" fmla="*/ 71792 w 266700"/>
                <a:gd name="connsiteY2" fmla="*/ 5879 h 257175"/>
                <a:gd name="connsiteX3" fmla="*/ 5879 w 266700"/>
                <a:gd name="connsiteY3" fmla="*/ 39311 h 257175"/>
              </a:gdLst>
              <a:ahLst/>
              <a:cxnLst>
                <a:cxn ang="0">
                  <a:pos x="connsiteX0" y="connsiteY0"/>
                </a:cxn>
                <a:cxn ang="0">
                  <a:pos x="connsiteX1" y="connsiteY1"/>
                </a:cxn>
                <a:cxn ang="0">
                  <a:pos x="connsiteX2" y="connsiteY2"/>
                </a:cxn>
                <a:cxn ang="0">
                  <a:pos x="connsiteX3" y="connsiteY3"/>
                </a:cxn>
              </a:cxnLst>
              <a:rect l="l" t="t" r="r" b="b"/>
              <a:pathLst>
                <a:path w="266700" h="257175">
                  <a:moveTo>
                    <a:pt x="174376" y="258482"/>
                  </a:moveTo>
                  <a:lnTo>
                    <a:pt x="270197" y="195331"/>
                  </a:lnTo>
                  <a:lnTo>
                    <a:pt x="71792" y="5879"/>
                  </a:lnTo>
                  <a:lnTo>
                    <a:pt x="5879" y="39311"/>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9" name="Freeform: Shape 125">
              <a:extLst>
                <a:ext uri="{FF2B5EF4-FFF2-40B4-BE49-F238E27FC236}">
                  <a16:creationId xmlns:a16="http://schemas.microsoft.com/office/drawing/2014/main" id="{07F00001-2B24-665E-843D-D220606DB360}"/>
                </a:ext>
              </a:extLst>
            </p:cNvPr>
            <p:cNvSpPr/>
            <p:nvPr/>
          </p:nvSpPr>
          <p:spPr>
            <a:xfrm>
              <a:off x="5603203" y="3785928"/>
              <a:ext cx="981075" cy="228600"/>
            </a:xfrm>
            <a:custGeom>
              <a:avLst/>
              <a:gdLst>
                <a:gd name="connsiteX0" fmla="*/ 5879 w 981075"/>
                <a:gd name="connsiteY0" fmla="*/ 225049 h 228600"/>
                <a:gd name="connsiteX1" fmla="*/ 975238 w 981075"/>
                <a:gd name="connsiteY1" fmla="*/ 225049 h 228600"/>
                <a:gd name="connsiteX2" fmla="*/ 806741 w 981075"/>
                <a:gd name="connsiteY2" fmla="*/ 5879 h 228600"/>
                <a:gd name="connsiteX3" fmla="*/ 166565 w 981075"/>
                <a:gd name="connsiteY3" fmla="*/ 5879 h 228600"/>
              </a:gdLst>
              <a:ahLst/>
              <a:cxnLst>
                <a:cxn ang="0">
                  <a:pos x="connsiteX0" y="connsiteY0"/>
                </a:cxn>
                <a:cxn ang="0">
                  <a:pos x="connsiteX1" y="connsiteY1"/>
                </a:cxn>
                <a:cxn ang="0">
                  <a:pos x="connsiteX2" y="connsiteY2"/>
                </a:cxn>
                <a:cxn ang="0">
                  <a:pos x="connsiteX3" y="connsiteY3"/>
                </a:cxn>
              </a:cxnLst>
              <a:rect l="l" t="t" r="r" b="b"/>
              <a:pathLst>
                <a:path w="981075" h="228600">
                  <a:moveTo>
                    <a:pt x="5879" y="225049"/>
                  </a:moveTo>
                  <a:lnTo>
                    <a:pt x="975238" y="225049"/>
                  </a:lnTo>
                  <a:lnTo>
                    <a:pt x="806741" y="5879"/>
                  </a:lnTo>
                  <a:lnTo>
                    <a:pt x="166565" y="5879"/>
                  </a:lnTo>
                  <a:close/>
                </a:path>
              </a:pathLst>
            </a:custGeom>
            <a:gradFill>
              <a:gsLst>
                <a:gs pos="0">
                  <a:schemeClr val="tx2">
                    <a:lumMod val="75000"/>
                    <a:alpha val="3900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grpSp>
      <p:pic>
        <p:nvPicPr>
          <p:cNvPr id="19" name="Picture 18">
            <a:extLst>
              <a:ext uri="{FF2B5EF4-FFF2-40B4-BE49-F238E27FC236}">
                <a16:creationId xmlns:a16="http://schemas.microsoft.com/office/drawing/2014/main" id="{6C8A0E95-8F7E-7265-7A09-0E1E81FED78A}"/>
              </a:ext>
            </a:extLst>
          </p:cNvPr>
          <p:cNvPicPr>
            <a:picLocks noChangeAspect="1"/>
          </p:cNvPicPr>
          <p:nvPr/>
        </p:nvPicPr>
        <p:blipFill rotWithShape="1">
          <a:blip r:embed="rId4">
            <a:biLevel thresh="25000"/>
          </a:blip>
          <a:srcRect b="19590"/>
          <a:stretch/>
        </p:blipFill>
        <p:spPr>
          <a:xfrm>
            <a:off x="3835237" y="2900299"/>
            <a:ext cx="1167657" cy="225700"/>
          </a:xfrm>
          <a:prstGeom prst="rect">
            <a:avLst/>
          </a:prstGeom>
        </p:spPr>
      </p:pic>
      <p:sp>
        <p:nvSpPr>
          <p:cNvPr id="20" name="Freeform: Shape 127">
            <a:extLst>
              <a:ext uri="{FF2B5EF4-FFF2-40B4-BE49-F238E27FC236}">
                <a16:creationId xmlns:a16="http://schemas.microsoft.com/office/drawing/2014/main" id="{4243B5DE-AC99-7A44-95AB-CDFB364D7410}"/>
              </a:ext>
            </a:extLst>
          </p:cNvPr>
          <p:cNvSpPr/>
          <p:nvPr/>
        </p:nvSpPr>
        <p:spPr>
          <a:xfrm>
            <a:off x="3759003" y="2474809"/>
            <a:ext cx="1252649" cy="235576"/>
          </a:xfrm>
          <a:custGeom>
            <a:avLst/>
            <a:gdLst>
              <a:gd name="connsiteX0" fmla="*/ 4633 w 771525"/>
              <a:gd name="connsiteY0" fmla="*/ 59497 h 95250"/>
              <a:gd name="connsiteX1" fmla="*/ 137888 w 771525"/>
              <a:gd name="connsiteY1" fmla="*/ 4633 h 95250"/>
              <a:gd name="connsiteX2" fmla="*/ 646904 w 771525"/>
              <a:gd name="connsiteY2" fmla="*/ 4633 h 95250"/>
              <a:gd name="connsiteX3" fmla="*/ 775206 w 771525"/>
              <a:gd name="connsiteY3" fmla="*/ 59497 h 95250"/>
              <a:gd name="connsiteX4" fmla="*/ 709388 w 771525"/>
              <a:gd name="connsiteY4" fmla="*/ 92930 h 95250"/>
              <a:gd name="connsiteX5" fmla="*/ 69213 w 771525"/>
              <a:gd name="connsiteY5" fmla="*/ 9293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525" h="95250">
                <a:moveTo>
                  <a:pt x="4633" y="59497"/>
                </a:moveTo>
                <a:lnTo>
                  <a:pt x="137888" y="4633"/>
                </a:lnTo>
                <a:lnTo>
                  <a:pt x="646904" y="4633"/>
                </a:lnTo>
                <a:lnTo>
                  <a:pt x="775206" y="59497"/>
                </a:lnTo>
                <a:lnTo>
                  <a:pt x="709388" y="92930"/>
                </a:lnTo>
                <a:lnTo>
                  <a:pt x="69213" y="92930"/>
                </a:lnTo>
                <a:close/>
              </a:path>
            </a:pathLst>
          </a:custGeom>
          <a:gradFill>
            <a:gsLst>
              <a:gs pos="0">
                <a:schemeClr val="tx2">
                  <a:lumMod val="75000"/>
                  <a:alpha val="45000"/>
                </a:schemeClr>
              </a:gs>
              <a:gs pos="100000">
                <a:srgbClr val="0A0B10">
                  <a:alpha val="2000"/>
                </a:srgbClr>
              </a:gs>
            </a:gsLst>
            <a:lin ang="16200000" scaled="0"/>
          </a:gradFill>
          <a:ln w="6350">
            <a:gradFill>
              <a:gsLst>
                <a:gs pos="0">
                  <a:srgbClr val="0088EE">
                    <a:alpha val="18000"/>
                  </a:srgbClr>
                </a:gs>
                <a:gs pos="100000">
                  <a:srgbClr val="0088EE">
                    <a:alpha val="44000"/>
                  </a:srgbClr>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1" name="Freeform: Shape 128">
            <a:extLst>
              <a:ext uri="{FF2B5EF4-FFF2-40B4-BE49-F238E27FC236}">
                <a16:creationId xmlns:a16="http://schemas.microsoft.com/office/drawing/2014/main" id="{7174C828-CD27-5889-24F0-537106C14B7A}"/>
              </a:ext>
            </a:extLst>
          </p:cNvPr>
          <p:cNvSpPr/>
          <p:nvPr/>
        </p:nvSpPr>
        <p:spPr>
          <a:xfrm>
            <a:off x="3756982" y="1665584"/>
            <a:ext cx="634057" cy="1036539"/>
          </a:xfrm>
          <a:custGeom>
            <a:avLst/>
            <a:gdLst>
              <a:gd name="connsiteX0" fmla="*/ 390689 w 390525"/>
              <a:gd name="connsiteY0" fmla="*/ 5879 h 419100"/>
              <a:gd name="connsiteX1" fmla="*/ 5879 w 390525"/>
              <a:gd name="connsiteY1" fmla="*/ 386688 h 419100"/>
              <a:gd name="connsiteX2" fmla="*/ 70458 w 390525"/>
              <a:gd name="connsiteY2" fmla="*/ 420121 h 419100"/>
            </a:gdLst>
            <a:ahLst/>
            <a:cxnLst>
              <a:cxn ang="0">
                <a:pos x="connsiteX0" y="connsiteY0"/>
              </a:cxn>
              <a:cxn ang="0">
                <a:pos x="connsiteX1" y="connsiteY1"/>
              </a:cxn>
              <a:cxn ang="0">
                <a:pos x="connsiteX2" y="connsiteY2"/>
              </a:cxn>
            </a:cxnLst>
            <a:rect l="l" t="t" r="r" b="b"/>
            <a:pathLst>
              <a:path w="390525" h="419100">
                <a:moveTo>
                  <a:pt x="390689" y="5879"/>
                </a:moveTo>
                <a:lnTo>
                  <a:pt x="5879" y="386688"/>
                </a:lnTo>
                <a:lnTo>
                  <a:pt x="70458" y="420121"/>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2" name="Freeform: Shape 129">
            <a:extLst>
              <a:ext uri="{FF2B5EF4-FFF2-40B4-BE49-F238E27FC236}">
                <a16:creationId xmlns:a16="http://schemas.microsoft.com/office/drawing/2014/main" id="{F699E1B6-FDF4-79E1-3273-802FB5F88FF7}"/>
              </a:ext>
            </a:extLst>
          </p:cNvPr>
          <p:cNvSpPr/>
          <p:nvPr/>
        </p:nvSpPr>
        <p:spPr>
          <a:xfrm>
            <a:off x="4381758" y="1665584"/>
            <a:ext cx="634057" cy="1036539"/>
          </a:xfrm>
          <a:custGeom>
            <a:avLst/>
            <a:gdLst>
              <a:gd name="connsiteX0" fmla="*/ 5879 w 390525"/>
              <a:gd name="connsiteY0" fmla="*/ 5879 h 419100"/>
              <a:gd name="connsiteX1" fmla="*/ 391641 w 390525"/>
              <a:gd name="connsiteY1" fmla="*/ 386688 h 419100"/>
              <a:gd name="connsiteX2" fmla="*/ 325823 w 390525"/>
              <a:gd name="connsiteY2" fmla="*/ 420121 h 419100"/>
            </a:gdLst>
            <a:ahLst/>
            <a:cxnLst>
              <a:cxn ang="0">
                <a:pos x="connsiteX0" y="connsiteY0"/>
              </a:cxn>
              <a:cxn ang="0">
                <a:pos x="connsiteX1" y="connsiteY1"/>
              </a:cxn>
              <a:cxn ang="0">
                <a:pos x="connsiteX2" y="connsiteY2"/>
              </a:cxn>
            </a:cxnLst>
            <a:rect l="l" t="t" r="r" b="b"/>
            <a:pathLst>
              <a:path w="390525" h="419100">
                <a:moveTo>
                  <a:pt x="5879" y="5879"/>
                </a:moveTo>
                <a:lnTo>
                  <a:pt x="391641" y="386688"/>
                </a:lnTo>
                <a:lnTo>
                  <a:pt x="325823" y="420121"/>
                </a:lnTo>
                <a:close/>
              </a:path>
            </a:pathLst>
          </a:custGeom>
          <a:gradFill>
            <a:gsLst>
              <a:gs pos="0">
                <a:schemeClr val="tx2">
                  <a:lumMod val="75000"/>
                  <a:alpha val="49000"/>
                </a:schemeClr>
              </a:gs>
              <a:gs pos="100000">
                <a:srgbClr val="0A0B10">
                  <a:alpha val="0"/>
                </a:srgbClr>
              </a:gs>
            </a:gsLst>
            <a:lin ang="3600000" scaled="0"/>
          </a:gradFill>
          <a:ln w="6350">
            <a:gradFill>
              <a:gsLst>
                <a:gs pos="0">
                  <a:schemeClr val="tx1"/>
                </a:gs>
                <a:gs pos="100000">
                  <a:srgbClr val="0088EE"/>
                </a:gs>
              </a:gsLst>
              <a:lin ang="1080000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sp>
        <p:nvSpPr>
          <p:cNvPr id="23" name="Freeform: Shape 130">
            <a:extLst>
              <a:ext uri="{FF2B5EF4-FFF2-40B4-BE49-F238E27FC236}">
                <a16:creationId xmlns:a16="http://schemas.microsoft.com/office/drawing/2014/main" id="{B2C0FBA3-5A06-53D1-1B83-7F366BE9C155}"/>
              </a:ext>
            </a:extLst>
          </p:cNvPr>
          <p:cNvSpPr/>
          <p:nvPr/>
        </p:nvSpPr>
        <p:spPr>
          <a:xfrm>
            <a:off x="3861832" y="1665584"/>
            <a:ext cx="1051607" cy="1036539"/>
          </a:xfrm>
          <a:custGeom>
            <a:avLst/>
            <a:gdLst>
              <a:gd name="connsiteX0" fmla="*/ 5879 w 647700"/>
              <a:gd name="connsiteY0" fmla="*/ 420121 h 419100"/>
              <a:gd name="connsiteX1" fmla="*/ 646054 w 647700"/>
              <a:gd name="connsiteY1" fmla="*/ 420121 h 419100"/>
              <a:gd name="connsiteX2" fmla="*/ 326109 w 647700"/>
              <a:gd name="connsiteY2" fmla="*/ 5879 h 419100"/>
            </a:gdLst>
            <a:ahLst/>
            <a:cxnLst>
              <a:cxn ang="0">
                <a:pos x="connsiteX0" y="connsiteY0"/>
              </a:cxn>
              <a:cxn ang="0">
                <a:pos x="connsiteX1" y="connsiteY1"/>
              </a:cxn>
              <a:cxn ang="0">
                <a:pos x="connsiteX2" y="connsiteY2"/>
              </a:cxn>
            </a:cxnLst>
            <a:rect l="l" t="t" r="r" b="b"/>
            <a:pathLst>
              <a:path w="647700" h="419100">
                <a:moveTo>
                  <a:pt x="5879" y="420121"/>
                </a:moveTo>
                <a:lnTo>
                  <a:pt x="646054" y="420121"/>
                </a:lnTo>
                <a:lnTo>
                  <a:pt x="326109" y="5879"/>
                </a:lnTo>
                <a:close/>
              </a:path>
            </a:pathLst>
          </a:custGeom>
          <a:gradFill>
            <a:gsLst>
              <a:gs pos="0">
                <a:schemeClr val="tx2">
                  <a:lumMod val="75000"/>
                  <a:alpha val="40000"/>
                </a:schemeClr>
              </a:gs>
              <a:gs pos="100000">
                <a:schemeClr val="tx2">
                  <a:lumMod val="75000"/>
                  <a:alpha val="37000"/>
                </a:schemeClr>
              </a:gs>
            </a:gsLst>
            <a:lin ang="0" scaled="0"/>
          </a:gradFill>
          <a:ln w="6350">
            <a:gradFill>
              <a:gsLst>
                <a:gs pos="0">
                  <a:schemeClr val="bg2">
                    <a:lumMod val="60000"/>
                    <a:lumOff val="40000"/>
                  </a:schemeClr>
                </a:gs>
                <a:gs pos="100000">
                  <a:schemeClr val="tx1"/>
                </a:gs>
              </a:gsLst>
              <a:lin ang="0" scaled="0"/>
            </a:gradFill>
            <a:miter lim="400000"/>
          </a:ln>
          <a:effectLst>
            <a:outerShdw blurRad="50800" dist="12700" dir="5400000" algn="t"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52"/>
            <a:endParaRPr lang="en-US" sz="4266" kern="0">
              <a:solidFill>
                <a:prstClr val="white"/>
              </a:solidFill>
              <a:latin typeface="Intel Clear Light" panose="020B0404020203020204" pitchFamily="34" charset="0"/>
            </a:endParaRPr>
          </a:p>
        </p:txBody>
      </p:sp>
      <p:pic>
        <p:nvPicPr>
          <p:cNvPr id="24" name="Picture 23">
            <a:extLst>
              <a:ext uri="{FF2B5EF4-FFF2-40B4-BE49-F238E27FC236}">
                <a16:creationId xmlns:a16="http://schemas.microsoft.com/office/drawing/2014/main" id="{F640E26D-5E55-ED1A-456B-1D2F3B4812C1}"/>
              </a:ext>
            </a:extLst>
          </p:cNvPr>
          <p:cNvPicPr>
            <a:picLocks noChangeAspect="1"/>
          </p:cNvPicPr>
          <p:nvPr/>
        </p:nvPicPr>
        <p:blipFill>
          <a:blip r:embed="rId5">
            <a:biLevel thresh="25000"/>
          </a:blip>
          <a:stretch>
            <a:fillRect/>
          </a:stretch>
        </p:blipFill>
        <p:spPr>
          <a:xfrm>
            <a:off x="4142367" y="2224339"/>
            <a:ext cx="553396" cy="544840"/>
          </a:xfrm>
          <a:prstGeom prst="rect">
            <a:avLst/>
          </a:prstGeom>
        </p:spPr>
      </p:pic>
      <p:sp>
        <p:nvSpPr>
          <p:cNvPr id="61" name="Content Placeholder 134">
            <a:extLst>
              <a:ext uri="{FF2B5EF4-FFF2-40B4-BE49-F238E27FC236}">
                <a16:creationId xmlns:a16="http://schemas.microsoft.com/office/drawing/2014/main" id="{D194C05C-6052-B280-2A00-9B6AEBB1B50B}"/>
              </a:ext>
            </a:extLst>
          </p:cNvPr>
          <p:cNvSpPr txBox="1">
            <a:spLocks/>
          </p:cNvSpPr>
          <p:nvPr/>
        </p:nvSpPr>
        <p:spPr>
          <a:xfrm>
            <a:off x="-39800" y="2334605"/>
            <a:ext cx="3849207"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0sMB,  ~1ns  </a:t>
            </a:r>
          </a:p>
        </p:txBody>
      </p:sp>
      <p:sp>
        <p:nvSpPr>
          <p:cNvPr id="62" name="Content Placeholder 134">
            <a:extLst>
              <a:ext uri="{FF2B5EF4-FFF2-40B4-BE49-F238E27FC236}">
                <a16:creationId xmlns:a16="http://schemas.microsoft.com/office/drawing/2014/main" id="{00991198-F210-38C3-2525-173DB5620645}"/>
              </a:ext>
            </a:extLst>
          </p:cNvPr>
          <p:cNvSpPr txBox="1">
            <a:spLocks/>
          </p:cNvSpPr>
          <p:nvPr/>
        </p:nvSpPr>
        <p:spPr>
          <a:xfrm>
            <a:off x="1696669" y="2775561"/>
            <a:ext cx="1592875"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sGB, ~10ns</a:t>
            </a:r>
          </a:p>
        </p:txBody>
      </p:sp>
      <p:sp>
        <p:nvSpPr>
          <p:cNvPr id="64" name="Content Placeholder 134">
            <a:extLst>
              <a:ext uri="{FF2B5EF4-FFF2-40B4-BE49-F238E27FC236}">
                <a16:creationId xmlns:a16="http://schemas.microsoft.com/office/drawing/2014/main" id="{73CEC458-0BDD-B99F-59DF-A843C9AE5D07}"/>
              </a:ext>
            </a:extLst>
          </p:cNvPr>
          <p:cNvSpPr txBox="1">
            <a:spLocks/>
          </p:cNvSpPr>
          <p:nvPr/>
        </p:nvSpPr>
        <p:spPr>
          <a:xfrm>
            <a:off x="5040943" y="1980975"/>
            <a:ext cx="5869048"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FontTx/>
              <a:buNone/>
            </a:pPr>
            <a:r>
              <a:rPr lang="en-US" sz="1600" kern="0" dirty="0"/>
              <a:t>HC, HS SRAM: </a:t>
            </a:r>
            <a:br>
              <a:rPr lang="en-US" sz="1600" kern="0" dirty="0"/>
            </a:br>
            <a:r>
              <a:rPr lang="en-US" sz="1600" b="0" kern="0" dirty="0"/>
              <a:t>Cell size and capacity, architecture and </a:t>
            </a:r>
            <a:r>
              <a:rPr lang="en-US" sz="1600" b="0" kern="0" dirty="0" err="1"/>
              <a:t>ip</a:t>
            </a:r>
            <a:r>
              <a:rPr lang="en-US" sz="1600" b="0" kern="0" dirty="0"/>
              <a:t> folding</a:t>
            </a:r>
          </a:p>
        </p:txBody>
      </p:sp>
      <p:sp>
        <p:nvSpPr>
          <p:cNvPr id="65" name="Content Placeholder 134">
            <a:extLst>
              <a:ext uri="{FF2B5EF4-FFF2-40B4-BE49-F238E27FC236}">
                <a16:creationId xmlns:a16="http://schemas.microsoft.com/office/drawing/2014/main" id="{A7048794-A12E-B9BC-A8D1-A5D9DBCD15BE}"/>
              </a:ext>
            </a:extLst>
          </p:cNvPr>
          <p:cNvSpPr txBox="1">
            <a:spLocks/>
          </p:cNvSpPr>
          <p:nvPr/>
        </p:nvSpPr>
        <p:spPr>
          <a:xfrm>
            <a:off x="1089435" y="3326607"/>
            <a:ext cx="1979286"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sGB, ~100ns</a:t>
            </a:r>
          </a:p>
        </p:txBody>
      </p:sp>
      <p:sp>
        <p:nvSpPr>
          <p:cNvPr id="66" name="Content Placeholder 134">
            <a:extLst>
              <a:ext uri="{FF2B5EF4-FFF2-40B4-BE49-F238E27FC236}">
                <a16:creationId xmlns:a16="http://schemas.microsoft.com/office/drawing/2014/main" id="{EB8EC5D9-B5F0-F4C6-DE01-F7CC35FB79AC}"/>
              </a:ext>
            </a:extLst>
          </p:cNvPr>
          <p:cNvSpPr txBox="1">
            <a:spLocks/>
          </p:cNvSpPr>
          <p:nvPr/>
        </p:nvSpPr>
        <p:spPr>
          <a:xfrm>
            <a:off x="631254" y="3917510"/>
            <a:ext cx="1979286"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0sGB, ~1µs</a:t>
            </a:r>
          </a:p>
        </p:txBody>
      </p:sp>
      <p:sp>
        <p:nvSpPr>
          <p:cNvPr id="67" name="Content Placeholder 134">
            <a:extLst>
              <a:ext uri="{FF2B5EF4-FFF2-40B4-BE49-F238E27FC236}">
                <a16:creationId xmlns:a16="http://schemas.microsoft.com/office/drawing/2014/main" id="{402EA3B8-05F5-7AA6-E2F1-56D03CCE9381}"/>
              </a:ext>
            </a:extLst>
          </p:cNvPr>
          <p:cNvSpPr txBox="1">
            <a:spLocks/>
          </p:cNvSpPr>
          <p:nvPr/>
        </p:nvSpPr>
        <p:spPr>
          <a:xfrm>
            <a:off x="146140" y="4602016"/>
            <a:ext cx="1979286"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sTB, ~10µs</a:t>
            </a:r>
          </a:p>
        </p:txBody>
      </p:sp>
      <p:sp>
        <p:nvSpPr>
          <p:cNvPr id="68" name="Content Placeholder 134">
            <a:extLst>
              <a:ext uri="{FF2B5EF4-FFF2-40B4-BE49-F238E27FC236}">
                <a16:creationId xmlns:a16="http://schemas.microsoft.com/office/drawing/2014/main" id="{C7F5ADC1-06D2-F5D7-81F4-6F42462FB5C1}"/>
              </a:ext>
            </a:extLst>
          </p:cNvPr>
          <p:cNvSpPr txBox="1">
            <a:spLocks/>
          </p:cNvSpPr>
          <p:nvPr/>
        </p:nvSpPr>
        <p:spPr>
          <a:xfrm>
            <a:off x="-268941" y="5306286"/>
            <a:ext cx="1979286"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sTB, ~100µs</a:t>
            </a:r>
          </a:p>
        </p:txBody>
      </p:sp>
      <p:sp>
        <p:nvSpPr>
          <p:cNvPr id="70" name="Content Placeholder 134">
            <a:extLst>
              <a:ext uri="{FF2B5EF4-FFF2-40B4-BE49-F238E27FC236}">
                <a16:creationId xmlns:a16="http://schemas.microsoft.com/office/drawing/2014/main" id="{67EF081D-DA52-37C9-1ED4-181844A6EB31}"/>
              </a:ext>
            </a:extLst>
          </p:cNvPr>
          <p:cNvSpPr txBox="1">
            <a:spLocks/>
          </p:cNvSpPr>
          <p:nvPr/>
        </p:nvSpPr>
        <p:spPr>
          <a:xfrm>
            <a:off x="5509524" y="2676361"/>
            <a:ext cx="3709210"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None/>
            </a:pPr>
            <a:r>
              <a:rPr lang="en-US" sz="1600" kern="0" dirty="0" err="1"/>
              <a:t>Disagg</a:t>
            </a:r>
            <a:r>
              <a:rPr lang="en-US" sz="1600" kern="0" dirty="0"/>
              <a:t>. HD SRAM or Custom HBW DRAM: </a:t>
            </a:r>
            <a:br>
              <a:rPr lang="en-US" sz="1600" kern="0" dirty="0"/>
            </a:br>
            <a:r>
              <a:rPr lang="en-US" sz="1600" b="0" kern="0" dirty="0"/>
              <a:t>Chiplet in 3DIC</a:t>
            </a:r>
          </a:p>
        </p:txBody>
      </p:sp>
      <p:sp>
        <p:nvSpPr>
          <p:cNvPr id="71" name="Content Placeholder 134">
            <a:extLst>
              <a:ext uri="{FF2B5EF4-FFF2-40B4-BE49-F238E27FC236}">
                <a16:creationId xmlns:a16="http://schemas.microsoft.com/office/drawing/2014/main" id="{A3A38291-6EE2-B746-64EA-298E09ED1756}"/>
              </a:ext>
            </a:extLst>
          </p:cNvPr>
          <p:cNvSpPr txBox="1">
            <a:spLocks/>
          </p:cNvSpPr>
          <p:nvPr/>
        </p:nvSpPr>
        <p:spPr>
          <a:xfrm>
            <a:off x="5847590" y="3368761"/>
            <a:ext cx="3709210"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None/>
            </a:pPr>
            <a:r>
              <a:rPr lang="en-US" sz="1600" kern="0" dirty="0"/>
              <a:t>JEDEC DRAM</a:t>
            </a:r>
            <a:br>
              <a:rPr lang="en-US" sz="1600" kern="0" dirty="0"/>
            </a:br>
            <a:r>
              <a:rPr lang="en-US" sz="1600" b="0" kern="0" dirty="0"/>
              <a:t>Cell Size, 3D Topo</a:t>
            </a:r>
          </a:p>
        </p:txBody>
      </p:sp>
      <p:sp>
        <p:nvSpPr>
          <p:cNvPr id="72" name="Content Placeholder 134">
            <a:extLst>
              <a:ext uri="{FF2B5EF4-FFF2-40B4-BE49-F238E27FC236}">
                <a16:creationId xmlns:a16="http://schemas.microsoft.com/office/drawing/2014/main" id="{C68CF1DA-B8E5-9017-E86A-E8BB104AB913}"/>
              </a:ext>
            </a:extLst>
          </p:cNvPr>
          <p:cNvSpPr txBox="1">
            <a:spLocks/>
          </p:cNvSpPr>
          <p:nvPr/>
        </p:nvSpPr>
        <p:spPr>
          <a:xfrm>
            <a:off x="6269121" y="4104825"/>
            <a:ext cx="4607564"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None/>
            </a:pPr>
            <a:r>
              <a:rPr lang="en-US" sz="1600" kern="0" dirty="0"/>
              <a:t>3D </a:t>
            </a:r>
            <a:r>
              <a:rPr lang="en-US" sz="1600" kern="0" dirty="0" err="1"/>
              <a:t>XPoint</a:t>
            </a:r>
            <a:br>
              <a:rPr lang="en-US" sz="1600" kern="0" dirty="0"/>
            </a:br>
            <a:r>
              <a:rPr lang="en-US" sz="1600" b="0" kern="0" dirty="0"/>
              <a:t>Adoption tipping point, “Crossing the chasm”</a:t>
            </a:r>
          </a:p>
        </p:txBody>
      </p:sp>
      <p:sp>
        <p:nvSpPr>
          <p:cNvPr id="73" name="Content Placeholder 134">
            <a:extLst>
              <a:ext uri="{FF2B5EF4-FFF2-40B4-BE49-F238E27FC236}">
                <a16:creationId xmlns:a16="http://schemas.microsoft.com/office/drawing/2014/main" id="{21252734-19A2-0AE3-B154-3D43F01ED6BF}"/>
              </a:ext>
            </a:extLst>
          </p:cNvPr>
          <p:cNvSpPr txBox="1">
            <a:spLocks/>
          </p:cNvSpPr>
          <p:nvPr/>
        </p:nvSpPr>
        <p:spPr>
          <a:xfrm>
            <a:off x="7037036" y="5039565"/>
            <a:ext cx="3709210" cy="561990"/>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519113" indent="-508000" defTabSz="914400">
              <a:buNone/>
            </a:pPr>
            <a:r>
              <a:rPr lang="en-US" sz="1600" kern="0" dirty="0"/>
              <a:t>3D NAND</a:t>
            </a:r>
            <a:br>
              <a:rPr lang="en-US" sz="1600" kern="0" dirty="0"/>
            </a:br>
            <a:r>
              <a:rPr lang="en-US" sz="1600" b="0" kern="0" dirty="0"/>
              <a:t>HAR, Layer Transfer</a:t>
            </a:r>
          </a:p>
        </p:txBody>
      </p:sp>
      <p:sp>
        <p:nvSpPr>
          <p:cNvPr id="75" name="Oval 74">
            <a:extLst>
              <a:ext uri="{FF2B5EF4-FFF2-40B4-BE49-F238E27FC236}">
                <a16:creationId xmlns:a16="http://schemas.microsoft.com/office/drawing/2014/main" id="{F282B8C1-3AA3-3AC2-AFB9-A56AA12E622A}"/>
              </a:ext>
            </a:extLst>
          </p:cNvPr>
          <p:cNvSpPr/>
          <p:nvPr/>
        </p:nvSpPr>
        <p:spPr>
          <a:xfrm>
            <a:off x="3514325" y="2680378"/>
            <a:ext cx="1729285" cy="612310"/>
          </a:xfrm>
          <a:prstGeom prst="ellipse">
            <a:avLst/>
          </a:prstGeom>
          <a:noFill/>
          <a:ln w="38100">
            <a:solidFill>
              <a:srgbClr val="FFF0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8"/>
          </a:p>
        </p:txBody>
      </p:sp>
      <p:sp>
        <p:nvSpPr>
          <p:cNvPr id="2" name="Content Placeholder 134">
            <a:extLst>
              <a:ext uri="{FF2B5EF4-FFF2-40B4-BE49-F238E27FC236}">
                <a16:creationId xmlns:a16="http://schemas.microsoft.com/office/drawing/2014/main" id="{D28EB753-2504-A428-8E4A-6651D553C288}"/>
              </a:ext>
            </a:extLst>
          </p:cNvPr>
          <p:cNvSpPr txBox="1">
            <a:spLocks/>
          </p:cNvSpPr>
          <p:nvPr/>
        </p:nvSpPr>
        <p:spPr>
          <a:xfrm>
            <a:off x="241686" y="1896991"/>
            <a:ext cx="3849207" cy="306449"/>
          </a:xfrm>
          <a:prstGeom prst="rect">
            <a:avLst/>
          </a:prstGeom>
        </p:spPr>
        <p:txBody>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algn="r" defTabSz="914400">
              <a:buFontTx/>
              <a:buNone/>
            </a:pPr>
            <a:r>
              <a:rPr lang="en-US" sz="1600" kern="0" dirty="0"/>
              <a:t>~10sMB,  ~100ps  </a:t>
            </a:r>
          </a:p>
        </p:txBody>
      </p:sp>
      <p:sp>
        <p:nvSpPr>
          <p:cNvPr id="3" name="TextBox 2">
            <a:extLst>
              <a:ext uri="{FF2B5EF4-FFF2-40B4-BE49-F238E27FC236}">
                <a16:creationId xmlns:a16="http://schemas.microsoft.com/office/drawing/2014/main" id="{B370D160-1F27-2FF8-26A3-2BF2F1AD284B}"/>
              </a:ext>
            </a:extLst>
          </p:cNvPr>
          <p:cNvSpPr txBox="1"/>
          <p:nvPr/>
        </p:nvSpPr>
        <p:spPr>
          <a:xfrm>
            <a:off x="5192752" y="7779196"/>
            <a:ext cx="1439497" cy="492443"/>
          </a:xfrm>
          <a:prstGeom prst="rect">
            <a:avLst/>
          </a:prstGeom>
          <a:noFill/>
        </p:spPr>
        <p:txBody>
          <a:bodyPr wrap="none" lIns="0" tIns="0" rIns="0" bIns="0" rtlCol="0">
            <a:spAutoFit/>
          </a:bodyPr>
          <a:lstStyle/>
          <a:p>
            <a:r>
              <a:rPr lang="en-US" sz="3200" dirty="0">
                <a:solidFill>
                  <a:schemeClr val="bg1">
                    <a:lumMod val="85000"/>
                  </a:schemeClr>
                </a:solidFill>
                <a:latin typeface="Intel Clear Pro" panose="020B0804020202060201" pitchFamily="34" charset="77"/>
                <a:ea typeface="Intel Clear Pro" panose="020B0804020202060201" pitchFamily="34" charset="77"/>
                <a:cs typeface="Intel Clear Pro" panose="020B0804020202060201" pitchFamily="34" charset="77"/>
              </a:rPr>
              <a:t>Main Memory</a:t>
            </a:r>
          </a:p>
        </p:txBody>
      </p:sp>
      <p:pic>
        <p:nvPicPr>
          <p:cNvPr id="7" name="Picture 6">
            <a:extLst>
              <a:ext uri="{FF2B5EF4-FFF2-40B4-BE49-F238E27FC236}">
                <a16:creationId xmlns:a16="http://schemas.microsoft.com/office/drawing/2014/main" id="{88D844E6-E9F0-7E09-4312-24A72CEB0CD9}"/>
              </a:ext>
            </a:extLst>
          </p:cNvPr>
          <p:cNvPicPr>
            <a:picLocks noChangeAspect="1"/>
          </p:cNvPicPr>
          <p:nvPr/>
        </p:nvPicPr>
        <p:blipFill>
          <a:blip r:embed="rId6"/>
          <a:stretch>
            <a:fillRect/>
          </a:stretch>
        </p:blipFill>
        <p:spPr>
          <a:xfrm>
            <a:off x="3720533" y="5369169"/>
            <a:ext cx="1630153" cy="863600"/>
          </a:xfrm>
          <a:prstGeom prst="rect">
            <a:avLst/>
          </a:prstGeom>
        </p:spPr>
      </p:pic>
      <p:pic>
        <p:nvPicPr>
          <p:cNvPr id="63" name="Picture 62">
            <a:extLst>
              <a:ext uri="{FF2B5EF4-FFF2-40B4-BE49-F238E27FC236}">
                <a16:creationId xmlns:a16="http://schemas.microsoft.com/office/drawing/2014/main" id="{C2A843C4-4DEA-C4AD-1F5E-91D3F0EBA20F}"/>
              </a:ext>
            </a:extLst>
          </p:cNvPr>
          <p:cNvPicPr>
            <a:picLocks noChangeAspect="1"/>
          </p:cNvPicPr>
          <p:nvPr/>
        </p:nvPicPr>
        <p:blipFill>
          <a:blip r:embed="rId7"/>
          <a:stretch>
            <a:fillRect/>
          </a:stretch>
        </p:blipFill>
        <p:spPr>
          <a:xfrm>
            <a:off x="3853844" y="3345658"/>
            <a:ext cx="1141680" cy="763293"/>
          </a:xfrm>
          <a:prstGeom prst="rect">
            <a:avLst/>
          </a:prstGeom>
        </p:spPr>
      </p:pic>
      <p:graphicFrame>
        <p:nvGraphicFramePr>
          <p:cNvPr id="6" name="Table 5">
            <a:extLst>
              <a:ext uri="{FF2B5EF4-FFF2-40B4-BE49-F238E27FC236}">
                <a16:creationId xmlns:a16="http://schemas.microsoft.com/office/drawing/2014/main" id="{B4120ADC-9B48-6106-D135-A495BB426A06}"/>
              </a:ext>
            </a:extLst>
          </p:cNvPr>
          <p:cNvGraphicFramePr>
            <a:graphicFrameLocks noGrp="1"/>
          </p:cNvGraphicFramePr>
          <p:nvPr>
            <p:extLst>
              <p:ext uri="{D42A27DB-BD31-4B8C-83A1-F6EECF244321}">
                <p14:modId xmlns:p14="http://schemas.microsoft.com/office/powerpoint/2010/main" val="2521974458"/>
              </p:ext>
            </p:extLst>
          </p:nvPr>
        </p:nvGraphicFramePr>
        <p:xfrm>
          <a:off x="5730983" y="2102567"/>
          <a:ext cx="6079450" cy="2269776"/>
        </p:xfrm>
        <a:graphic>
          <a:graphicData uri="http://schemas.openxmlformats.org/drawingml/2006/table">
            <a:tbl>
              <a:tblPr/>
              <a:tblGrid>
                <a:gridCol w="1215890">
                  <a:extLst>
                    <a:ext uri="{9D8B030D-6E8A-4147-A177-3AD203B41FA5}">
                      <a16:colId xmlns:a16="http://schemas.microsoft.com/office/drawing/2014/main" val="1155118556"/>
                    </a:ext>
                  </a:extLst>
                </a:gridCol>
                <a:gridCol w="1215890">
                  <a:extLst>
                    <a:ext uri="{9D8B030D-6E8A-4147-A177-3AD203B41FA5}">
                      <a16:colId xmlns:a16="http://schemas.microsoft.com/office/drawing/2014/main" val="3675688205"/>
                    </a:ext>
                  </a:extLst>
                </a:gridCol>
                <a:gridCol w="1215890">
                  <a:extLst>
                    <a:ext uri="{9D8B030D-6E8A-4147-A177-3AD203B41FA5}">
                      <a16:colId xmlns:a16="http://schemas.microsoft.com/office/drawing/2014/main" val="2508591555"/>
                    </a:ext>
                  </a:extLst>
                </a:gridCol>
                <a:gridCol w="1337926">
                  <a:extLst>
                    <a:ext uri="{9D8B030D-6E8A-4147-A177-3AD203B41FA5}">
                      <a16:colId xmlns:a16="http://schemas.microsoft.com/office/drawing/2014/main" val="909069435"/>
                    </a:ext>
                  </a:extLst>
                </a:gridCol>
                <a:gridCol w="1093854">
                  <a:extLst>
                    <a:ext uri="{9D8B030D-6E8A-4147-A177-3AD203B41FA5}">
                      <a16:colId xmlns:a16="http://schemas.microsoft.com/office/drawing/2014/main" val="2303220150"/>
                    </a:ext>
                  </a:extLst>
                </a:gridCol>
              </a:tblGrid>
              <a:tr h="281651">
                <a:tc>
                  <a:txBody>
                    <a:bodyPr/>
                    <a:lstStyle/>
                    <a:p>
                      <a:pPr algn="r" fontAlgn="ctr"/>
                      <a:r>
                        <a:rPr lang="en-US" sz="1600" b="1" i="0" u="none" strike="noStrike" dirty="0">
                          <a:solidFill>
                            <a:srgbClr val="000000"/>
                          </a:solidFill>
                          <a:effectLst/>
                          <a:latin typeface="Calibri" panose="020F0502020204030204" pitchFamily="34" charset="0"/>
                        </a:rPr>
                        <a:t>IPM Tech </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Latency [ns]</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BW [TB/s]</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Capacity [GB]</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US" sz="1600" b="1" i="0" u="none" strike="noStrike">
                          <a:solidFill>
                            <a:srgbClr val="000000"/>
                          </a:solidFill>
                          <a:effectLst/>
                          <a:latin typeface="Calibri" panose="020F0502020204030204" pitchFamily="34" charset="0"/>
                        </a:rPr>
                        <a:t>Power  [W]</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14276628"/>
                  </a:ext>
                </a:extLst>
              </a:tr>
              <a:tr h="281651">
                <a:tc>
                  <a:txBody>
                    <a:bodyPr/>
                    <a:lstStyle/>
                    <a:p>
                      <a:pPr algn="r" fontAlgn="ctr"/>
                      <a:r>
                        <a:rPr lang="en-US" sz="1600" b="1" i="0" u="none" strike="noStrike" dirty="0">
                          <a:solidFill>
                            <a:srgbClr val="000000"/>
                          </a:solidFill>
                          <a:effectLst/>
                          <a:latin typeface="Calibri" panose="020F0502020204030204" pitchFamily="34" charset="0"/>
                        </a:rPr>
                        <a:t>MDC</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3</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6.899</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3</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2.7</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2147370885"/>
                  </a:ext>
                </a:extLst>
              </a:tr>
              <a:tr h="281651">
                <a:tc>
                  <a:txBody>
                    <a:bodyPr/>
                    <a:lstStyle/>
                    <a:p>
                      <a:pPr algn="r" fontAlgn="ctr"/>
                      <a:r>
                        <a:rPr lang="en-US" sz="1600" b="1" i="0" u="none" strike="noStrike" dirty="0">
                          <a:solidFill>
                            <a:srgbClr val="000000"/>
                          </a:solidFill>
                          <a:effectLst/>
                          <a:latin typeface="Calibri" panose="020F0502020204030204" pitchFamily="34" charset="0"/>
                        </a:rPr>
                        <a:t>APM VHM</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15</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2.400</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6</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9.6</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1538885733"/>
                  </a:ext>
                </a:extLst>
              </a:tr>
              <a:tr h="281651">
                <a:tc>
                  <a:txBody>
                    <a:bodyPr/>
                    <a:lstStyle/>
                    <a:p>
                      <a:pPr algn="r" fontAlgn="ctr"/>
                      <a:r>
                        <a:rPr lang="en-US" sz="1600" b="1" i="0" u="none" strike="noStrike" dirty="0">
                          <a:solidFill>
                            <a:srgbClr val="000000"/>
                          </a:solidFill>
                          <a:effectLst/>
                          <a:latin typeface="Calibri" panose="020F0502020204030204" pitchFamily="34" charset="0"/>
                        </a:rPr>
                        <a:t>P1227.7</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2.144</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7</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3.7</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4197886545"/>
                  </a:ext>
                </a:extLst>
              </a:tr>
              <a:tr h="281651">
                <a:tc>
                  <a:txBody>
                    <a:bodyPr/>
                    <a:lstStyle/>
                    <a:p>
                      <a:pPr algn="r" fontAlgn="ctr"/>
                      <a:r>
                        <a:rPr lang="en-US" sz="1600" b="1" i="0" u="none" strike="noStrike" dirty="0">
                          <a:solidFill>
                            <a:srgbClr val="000000"/>
                          </a:solidFill>
                          <a:effectLst/>
                          <a:latin typeface="Calibri" panose="020F0502020204030204" pitchFamily="34" charset="0"/>
                        </a:rPr>
                        <a:t>SKH TCCD</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a:solidFill>
                            <a:srgbClr val="000000"/>
                          </a:solidFill>
                          <a:effectLst/>
                          <a:latin typeface="Calibri" panose="020F0502020204030204" pitchFamily="34" charset="0"/>
                        </a:rPr>
                        <a:t>15</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1.400</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4</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0.8</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112924741"/>
                  </a:ext>
                </a:extLst>
              </a:tr>
              <a:tr h="281651">
                <a:tc>
                  <a:txBody>
                    <a:bodyPr/>
                    <a:lstStyle/>
                    <a:p>
                      <a:pPr algn="r" fontAlgn="ctr"/>
                      <a:r>
                        <a:rPr lang="en-US" sz="1600" b="1" i="0" u="none" strike="noStrike" dirty="0">
                          <a:solidFill>
                            <a:srgbClr val="000000"/>
                          </a:solidFill>
                          <a:effectLst/>
                          <a:latin typeface="Calibri" panose="020F0502020204030204" pitchFamily="34" charset="0"/>
                        </a:rPr>
                        <a:t>SEC LLW</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32</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600" b="1" i="0" u="none" strike="noStrike">
                          <a:solidFill>
                            <a:srgbClr val="000000"/>
                          </a:solidFill>
                          <a:effectLst/>
                          <a:latin typeface="Calibri" panose="020F0502020204030204" pitchFamily="34" charset="0"/>
                        </a:rPr>
                        <a:t>0.833</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8</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10.0</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1811189182"/>
                  </a:ext>
                </a:extLst>
              </a:tr>
              <a:tr h="298219">
                <a:tc>
                  <a:txBody>
                    <a:bodyPr/>
                    <a:lstStyle/>
                    <a:p>
                      <a:pPr algn="r" fontAlgn="ctr"/>
                      <a:r>
                        <a:rPr lang="en-US" sz="1600" b="1" i="0" u="none" strike="noStrike" dirty="0">
                          <a:solidFill>
                            <a:srgbClr val="000000"/>
                          </a:solidFill>
                          <a:effectLst/>
                          <a:latin typeface="Calibri" panose="020F0502020204030204" pitchFamily="34" charset="0"/>
                        </a:rPr>
                        <a:t>HBM3</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34</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0.212</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1.7</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a:solidFill>
                            <a:srgbClr val="000000"/>
                          </a:solidFill>
                          <a:effectLst/>
                          <a:latin typeface="Calibri" panose="020F0502020204030204" pitchFamily="34" charset="0"/>
                        </a:rPr>
                        <a:t>25.0</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1434187307"/>
                  </a:ext>
                </a:extLst>
              </a:tr>
              <a:tr h="281651">
                <a:tc>
                  <a:txBody>
                    <a:bodyPr/>
                    <a:lstStyle/>
                    <a:p>
                      <a:pPr algn="r" fontAlgn="ctr"/>
                      <a:r>
                        <a:rPr lang="en-US" sz="1600" b="1" i="0" u="none" strike="noStrike" dirty="0">
                          <a:solidFill>
                            <a:srgbClr val="000000"/>
                          </a:solidFill>
                          <a:effectLst/>
                          <a:latin typeface="Calibri" panose="020F0502020204030204" pitchFamily="34" charset="0"/>
                        </a:rPr>
                        <a:t>LPDDR5</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CAE1"/>
                    </a:solidFill>
                  </a:tcPr>
                </a:tc>
                <a:tc>
                  <a:txBody>
                    <a:bodyPr/>
                    <a:lstStyle/>
                    <a:p>
                      <a:pPr algn="ctr" fontAlgn="ctr"/>
                      <a:r>
                        <a:rPr lang="en-US" sz="1600" b="1" i="0" u="none" strike="noStrike" dirty="0">
                          <a:solidFill>
                            <a:srgbClr val="000000"/>
                          </a:solidFill>
                          <a:effectLst/>
                          <a:latin typeface="Calibri" panose="020F0502020204030204" pitchFamily="34" charset="0"/>
                        </a:rPr>
                        <a:t>36</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022</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3.4</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600" b="1" i="0" u="none" strike="noStrike" dirty="0">
                          <a:solidFill>
                            <a:srgbClr val="000000"/>
                          </a:solidFill>
                          <a:effectLst/>
                          <a:latin typeface="Calibri" panose="020F0502020204030204" pitchFamily="34" charset="0"/>
                        </a:rPr>
                        <a:t>0.9</a:t>
                      </a:r>
                    </a:p>
                  </a:txBody>
                  <a:tcPr marL="36576" marR="36576" marT="18288" marB="1828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2866594218"/>
                  </a:ext>
                </a:extLst>
              </a:tr>
            </a:tbl>
          </a:graphicData>
        </a:graphic>
      </p:graphicFrame>
    </p:spTree>
    <p:extLst>
      <p:ext uri="{BB962C8B-B14F-4D97-AF65-F5344CB8AC3E}">
        <p14:creationId xmlns:p14="http://schemas.microsoft.com/office/powerpoint/2010/main" val="2107094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p:cTn id="7" dur="500" fill="hold"/>
                                        <p:tgtEl>
                                          <p:spTgt spid="75"/>
                                        </p:tgtEl>
                                        <p:attrNameLst>
                                          <p:attrName>ppt_w</p:attrName>
                                        </p:attrNameLst>
                                      </p:cBhvr>
                                      <p:tavLst>
                                        <p:tav tm="0">
                                          <p:val>
                                            <p:fltVal val="0"/>
                                          </p:val>
                                        </p:tav>
                                        <p:tav tm="100000">
                                          <p:val>
                                            <p:strVal val="#ppt_w"/>
                                          </p:val>
                                        </p:tav>
                                      </p:tavLst>
                                    </p:anim>
                                    <p:anim calcmode="lin" valueType="num">
                                      <p:cBhvr>
                                        <p:cTn id="8" dur="500" fill="hold"/>
                                        <p:tgtEl>
                                          <p:spTgt spid="75"/>
                                        </p:tgtEl>
                                        <p:attrNameLst>
                                          <p:attrName>ppt_h</p:attrName>
                                        </p:attrNameLst>
                                      </p:cBhvr>
                                      <p:tavLst>
                                        <p:tav tm="0">
                                          <p:val>
                                            <p:fltVal val="0"/>
                                          </p:val>
                                        </p:tav>
                                        <p:tav tm="100000">
                                          <p:val>
                                            <p:strVal val="#ppt_h"/>
                                          </p:val>
                                        </p:tav>
                                      </p:tavLst>
                                    </p:anim>
                                    <p:animEffect transition="in" filter="fade">
                                      <p:cBhvr>
                                        <p:cTn id="9" dur="500"/>
                                        <p:tgtEl>
                                          <p:spTgt spid="75"/>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xit" presetSubtype="10" fill="hold" grpId="0" nodeType="clickEffect">
                                  <p:stCondLst>
                                    <p:cond delay="0"/>
                                  </p:stCondLst>
                                  <p:childTnLst>
                                    <p:animEffect transition="out" filter="blinds(horizontal)">
                                      <p:cBhvr>
                                        <p:cTn id="13" dur="500"/>
                                        <p:tgtEl>
                                          <p:spTgt spid="64"/>
                                        </p:tgtEl>
                                      </p:cBhvr>
                                    </p:animEffect>
                                    <p:set>
                                      <p:cBhvr>
                                        <p:cTn id="14" dur="1" fill="hold">
                                          <p:stCondLst>
                                            <p:cond delay="499"/>
                                          </p:stCondLst>
                                        </p:cTn>
                                        <p:tgtEl>
                                          <p:spTgt spid="64"/>
                                        </p:tgtEl>
                                        <p:attrNameLst>
                                          <p:attrName>style.visibility</p:attrName>
                                        </p:attrNameLst>
                                      </p:cBhvr>
                                      <p:to>
                                        <p:strVal val="hidden"/>
                                      </p:to>
                                    </p:set>
                                  </p:childTnLst>
                                </p:cTn>
                              </p:par>
                              <p:par>
                                <p:cTn id="15" presetID="3" presetClass="exit" presetSubtype="10" fill="hold" grpId="0" nodeType="withEffect">
                                  <p:stCondLst>
                                    <p:cond delay="0"/>
                                  </p:stCondLst>
                                  <p:childTnLst>
                                    <p:animEffect transition="out" filter="blinds(horizontal)">
                                      <p:cBhvr>
                                        <p:cTn id="16" dur="500"/>
                                        <p:tgtEl>
                                          <p:spTgt spid="70"/>
                                        </p:tgtEl>
                                      </p:cBhvr>
                                    </p:animEffect>
                                    <p:set>
                                      <p:cBhvr>
                                        <p:cTn id="17" dur="1" fill="hold">
                                          <p:stCondLst>
                                            <p:cond delay="499"/>
                                          </p:stCondLst>
                                        </p:cTn>
                                        <p:tgtEl>
                                          <p:spTgt spid="70"/>
                                        </p:tgtEl>
                                        <p:attrNameLst>
                                          <p:attrName>style.visibility</p:attrName>
                                        </p:attrNameLst>
                                      </p:cBhvr>
                                      <p:to>
                                        <p:strVal val="hidden"/>
                                      </p:to>
                                    </p:set>
                                  </p:childTnLst>
                                </p:cTn>
                              </p:par>
                              <p:par>
                                <p:cTn id="18" presetID="3" presetClass="exit" presetSubtype="10" fill="hold" grpId="0" nodeType="withEffect">
                                  <p:stCondLst>
                                    <p:cond delay="0"/>
                                  </p:stCondLst>
                                  <p:childTnLst>
                                    <p:animEffect transition="out" filter="blinds(horizontal)">
                                      <p:cBhvr>
                                        <p:cTn id="19" dur="500"/>
                                        <p:tgtEl>
                                          <p:spTgt spid="71"/>
                                        </p:tgtEl>
                                      </p:cBhvr>
                                    </p:animEffect>
                                    <p:set>
                                      <p:cBhvr>
                                        <p:cTn id="20" dur="1" fill="hold">
                                          <p:stCondLst>
                                            <p:cond delay="499"/>
                                          </p:stCondLst>
                                        </p:cTn>
                                        <p:tgtEl>
                                          <p:spTgt spid="71"/>
                                        </p:tgtEl>
                                        <p:attrNameLst>
                                          <p:attrName>style.visibility</p:attrName>
                                        </p:attrNameLst>
                                      </p:cBhvr>
                                      <p:to>
                                        <p:strVal val="hidden"/>
                                      </p:to>
                                    </p:set>
                                  </p:childTnLst>
                                </p:cTn>
                              </p:par>
                              <p:par>
                                <p:cTn id="21" presetID="3" presetClass="exit" presetSubtype="10" fill="hold" grpId="0" nodeType="withEffect">
                                  <p:stCondLst>
                                    <p:cond delay="0"/>
                                  </p:stCondLst>
                                  <p:childTnLst>
                                    <p:animEffect transition="out" filter="blinds(horizontal)">
                                      <p:cBhvr>
                                        <p:cTn id="22" dur="500"/>
                                        <p:tgtEl>
                                          <p:spTgt spid="72"/>
                                        </p:tgtEl>
                                      </p:cBhvr>
                                    </p:animEffect>
                                    <p:set>
                                      <p:cBhvr>
                                        <p:cTn id="23" dur="1" fill="hold">
                                          <p:stCondLst>
                                            <p:cond delay="499"/>
                                          </p:stCondLst>
                                        </p:cTn>
                                        <p:tgtEl>
                                          <p:spTgt spid="72"/>
                                        </p:tgtEl>
                                        <p:attrNameLst>
                                          <p:attrName>style.visibility</p:attrName>
                                        </p:attrNameLst>
                                      </p:cBhvr>
                                      <p:to>
                                        <p:strVal val="hidden"/>
                                      </p:to>
                                    </p:set>
                                  </p:childTnLst>
                                </p:cTn>
                              </p:par>
                              <p:par>
                                <p:cTn id="24" presetID="3" presetClass="exit" presetSubtype="10" fill="hold" grpId="0" nodeType="withEffect">
                                  <p:stCondLst>
                                    <p:cond delay="0"/>
                                  </p:stCondLst>
                                  <p:childTnLst>
                                    <p:animEffect transition="out" filter="blinds(horizontal)">
                                      <p:cBhvr>
                                        <p:cTn id="25" dur="500"/>
                                        <p:tgtEl>
                                          <p:spTgt spid="73"/>
                                        </p:tgtEl>
                                      </p:cBhvr>
                                    </p:animEffect>
                                    <p:set>
                                      <p:cBhvr>
                                        <p:cTn id="26" dur="1" fill="hold">
                                          <p:stCondLst>
                                            <p:cond delay="499"/>
                                          </p:stCondLst>
                                        </p:cTn>
                                        <p:tgtEl>
                                          <p:spTgt spid="73"/>
                                        </p:tgtEl>
                                        <p:attrNameLst>
                                          <p:attrName>style.visibility</p:attrName>
                                        </p:attrNameLst>
                                      </p:cBhvr>
                                      <p:to>
                                        <p:strVal val="hidden"/>
                                      </p:to>
                                    </p:set>
                                  </p:childTnLst>
                                </p:cTn>
                              </p:par>
                              <p:par>
                                <p:cTn id="27" presetID="2" presetClass="entr" presetSubtype="2" fill="hold" nodeType="with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1+#ppt_w/2"/>
                                          </p:val>
                                        </p:tav>
                                        <p:tav tm="100000">
                                          <p:val>
                                            <p:strVal val="#ppt_x"/>
                                          </p:val>
                                        </p:tav>
                                      </p:tavLst>
                                    </p:anim>
                                    <p:anim calcmode="lin" valueType="num">
                                      <p:cBhvr additive="base">
                                        <p:cTn id="30"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70" grpId="0"/>
      <p:bldP spid="71" grpId="0"/>
      <p:bldP spid="72" grpId="0"/>
      <p:bldP spid="73" grpId="0"/>
      <p:bldP spid="7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ABABF-1912-AD4E-BC45-28EAE79AEEA0}"/>
              </a:ext>
            </a:extLst>
          </p:cNvPr>
          <p:cNvSpPr>
            <a:spLocks noGrp="1"/>
          </p:cNvSpPr>
          <p:nvPr>
            <p:ph type="ctrTitle"/>
          </p:nvPr>
        </p:nvSpPr>
        <p:spPr/>
        <p:txBody>
          <a:bodyPr/>
          <a:lstStyle/>
          <a:p>
            <a:r>
              <a:rPr lang="en-US" sz="4400" dirty="0"/>
              <a:t>Generalized Control Access</a:t>
            </a:r>
          </a:p>
        </p:txBody>
      </p:sp>
      <p:sp>
        <p:nvSpPr>
          <p:cNvPr id="3" name="Content Placeholder 2">
            <a:extLst>
              <a:ext uri="{FF2B5EF4-FFF2-40B4-BE49-F238E27FC236}">
                <a16:creationId xmlns:a16="http://schemas.microsoft.com/office/drawing/2014/main" id="{BD61A205-E58C-1251-9045-43E75AB05619}"/>
              </a:ext>
            </a:extLst>
          </p:cNvPr>
          <p:cNvSpPr>
            <a:spLocks noGrp="1"/>
          </p:cNvSpPr>
          <p:nvPr>
            <p:ph type="subTitle" idx="1"/>
          </p:nvPr>
        </p:nvSpPr>
        <p:spPr>
          <a:xfrm>
            <a:off x="1828800" y="3886201"/>
            <a:ext cx="9619488" cy="1752600"/>
          </a:xfrm>
        </p:spPr>
        <p:txBody>
          <a:bodyPr/>
          <a:lstStyle/>
          <a:p>
            <a:r>
              <a:rPr lang="en-US" sz="3200" dirty="0"/>
              <a:t>Model in Memory Semantics </a:t>
            </a:r>
          </a:p>
          <a:p>
            <a:r>
              <a:rPr lang="en-US" sz="3200" dirty="0"/>
              <a:t>Exemplification in Read/Write Access Latency</a:t>
            </a:r>
          </a:p>
        </p:txBody>
      </p:sp>
    </p:spTree>
    <p:extLst>
      <p:ext uri="{BB962C8B-B14F-4D97-AF65-F5344CB8AC3E}">
        <p14:creationId xmlns:p14="http://schemas.microsoft.com/office/powerpoint/2010/main" val="337752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CDD9A8F2-DEBC-CB07-3C30-1603291CC569}"/>
              </a:ext>
            </a:extLst>
          </p:cNvPr>
          <p:cNvGrpSpPr/>
          <p:nvPr/>
        </p:nvGrpSpPr>
        <p:grpSpPr>
          <a:xfrm>
            <a:off x="2381250" y="1351914"/>
            <a:ext cx="9677395" cy="3297853"/>
            <a:chOff x="2381250" y="1351914"/>
            <a:chExt cx="9677395" cy="3297853"/>
          </a:xfrm>
        </p:grpSpPr>
        <p:cxnSp>
          <p:nvCxnSpPr>
            <p:cNvPr id="16" name="Elbow Connector 15">
              <a:extLst>
                <a:ext uri="{FF2B5EF4-FFF2-40B4-BE49-F238E27FC236}">
                  <a16:creationId xmlns:a16="http://schemas.microsoft.com/office/drawing/2014/main" id="{D4142A35-0BF7-4B4C-16FB-59785B55120D}"/>
                </a:ext>
              </a:extLst>
            </p:cNvPr>
            <p:cNvCxnSpPr>
              <a:cxnSpLocks/>
              <a:stCxn id="11" idx="2"/>
              <a:endCxn id="9" idx="1"/>
            </p:cNvCxnSpPr>
            <p:nvPr/>
          </p:nvCxnSpPr>
          <p:spPr>
            <a:xfrm>
              <a:off x="2381250" y="2133599"/>
              <a:ext cx="1937086" cy="1581151"/>
            </a:xfrm>
            <a:prstGeom prst="bentConnector3">
              <a:avLst>
                <a:gd name="adj1" fmla="val 24967"/>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D8B066A9-146F-6718-E939-73F618B3CC14}"/>
                </a:ext>
              </a:extLst>
            </p:cNvPr>
            <p:cNvCxnSpPr>
              <a:cxnSpLocks/>
              <a:stCxn id="11" idx="2"/>
              <a:endCxn id="8" idx="0"/>
            </p:cNvCxnSpPr>
            <p:nvPr/>
          </p:nvCxnSpPr>
          <p:spPr>
            <a:xfrm>
              <a:off x="2381250" y="2133599"/>
              <a:ext cx="980104" cy="1"/>
            </a:xfrm>
            <a:prstGeom prst="bentConnector3">
              <a:avLst>
                <a:gd name="adj1" fmla="val 50000"/>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58">
              <a:extLst>
                <a:ext uri="{FF2B5EF4-FFF2-40B4-BE49-F238E27FC236}">
                  <a16:creationId xmlns:a16="http://schemas.microsoft.com/office/drawing/2014/main" id="{3CBAEF8F-6AC0-F54B-6868-E225FBCFC064}"/>
                </a:ext>
              </a:extLst>
            </p:cNvPr>
            <p:cNvCxnSpPr>
              <a:cxnSpLocks/>
              <a:stCxn id="11" idx="2"/>
              <a:endCxn id="10" idx="1"/>
            </p:cNvCxnSpPr>
            <p:nvPr/>
          </p:nvCxnSpPr>
          <p:spPr>
            <a:xfrm>
              <a:off x="2381250" y="2133599"/>
              <a:ext cx="1937086" cy="2516168"/>
            </a:xfrm>
            <a:prstGeom prst="bentConnector3">
              <a:avLst>
                <a:gd name="adj1" fmla="val 24967"/>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2" name="Octagon 71">
              <a:extLst>
                <a:ext uri="{FF2B5EF4-FFF2-40B4-BE49-F238E27FC236}">
                  <a16:creationId xmlns:a16="http://schemas.microsoft.com/office/drawing/2014/main" id="{7954C9B6-36D1-0306-6EA8-58FCA19DFC56}"/>
                </a:ext>
              </a:extLst>
            </p:cNvPr>
            <p:cNvSpPr/>
            <p:nvPr/>
          </p:nvSpPr>
          <p:spPr>
            <a:xfrm>
              <a:off x="2599355" y="1351914"/>
              <a:ext cx="457200" cy="457200"/>
            </a:xfrm>
            <a:prstGeom prst="octagon">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38" name="Octagon 137">
              <a:extLst>
                <a:ext uri="{FF2B5EF4-FFF2-40B4-BE49-F238E27FC236}">
                  <a16:creationId xmlns:a16="http://schemas.microsoft.com/office/drawing/2014/main" id="{B5BD0711-932F-1BD5-FB78-02171E8E6ADE}"/>
                </a:ext>
              </a:extLst>
            </p:cNvPr>
            <p:cNvSpPr/>
            <p:nvPr/>
          </p:nvSpPr>
          <p:spPr>
            <a:xfrm>
              <a:off x="6691228" y="2192780"/>
              <a:ext cx="457200" cy="457200"/>
            </a:xfrm>
            <a:prstGeom prst="octagon">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2" name="Content Placeholder 134">
              <a:extLst>
                <a:ext uri="{FF2B5EF4-FFF2-40B4-BE49-F238E27FC236}">
                  <a16:creationId xmlns:a16="http://schemas.microsoft.com/office/drawing/2014/main" id="{18566C26-1EA2-033D-7152-76AD625D10C2}"/>
                </a:ext>
              </a:extLst>
            </p:cNvPr>
            <p:cNvSpPr txBox="1">
              <a:spLocks/>
            </p:cNvSpPr>
            <p:nvPr/>
          </p:nvSpPr>
          <p:spPr bwMode="auto">
            <a:xfrm>
              <a:off x="7231162" y="2138222"/>
              <a:ext cx="4827483" cy="533386"/>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defTabSz="914400">
                <a:buFontTx/>
                <a:buNone/>
              </a:pPr>
              <a:r>
                <a:rPr lang="en-US" sz="3200" kern="0" dirty="0"/>
                <a:t>Decode</a:t>
              </a:r>
            </a:p>
          </p:txBody>
        </p:sp>
      </p:grpSp>
      <p:grpSp>
        <p:nvGrpSpPr>
          <p:cNvPr id="24" name="Group 23">
            <a:extLst>
              <a:ext uri="{FF2B5EF4-FFF2-40B4-BE49-F238E27FC236}">
                <a16:creationId xmlns:a16="http://schemas.microsoft.com/office/drawing/2014/main" id="{0A7FBBF9-BD4A-61EE-71DF-813FB8CA4C4F}"/>
              </a:ext>
            </a:extLst>
          </p:cNvPr>
          <p:cNvGrpSpPr/>
          <p:nvPr/>
        </p:nvGrpSpPr>
        <p:grpSpPr>
          <a:xfrm>
            <a:off x="2092136" y="1466285"/>
            <a:ext cx="5066395" cy="3931839"/>
            <a:chOff x="2092136" y="1466285"/>
            <a:chExt cx="5066395" cy="3931839"/>
          </a:xfrm>
        </p:grpSpPr>
        <p:cxnSp>
          <p:nvCxnSpPr>
            <p:cNvPr id="27" name="Elbow Connector 26">
              <a:extLst>
                <a:ext uri="{FF2B5EF4-FFF2-40B4-BE49-F238E27FC236}">
                  <a16:creationId xmlns:a16="http://schemas.microsoft.com/office/drawing/2014/main" id="{824CCD94-72BC-1276-9D84-F6DAA069FDC2}"/>
                </a:ext>
              </a:extLst>
            </p:cNvPr>
            <p:cNvCxnSpPr>
              <a:cxnSpLocks/>
              <a:stCxn id="5" idx="2"/>
              <a:endCxn id="8" idx="1"/>
            </p:cNvCxnSpPr>
            <p:nvPr/>
          </p:nvCxnSpPr>
          <p:spPr>
            <a:xfrm flipV="1">
              <a:off x="2381250" y="2971800"/>
              <a:ext cx="1208704" cy="755930"/>
            </a:xfrm>
            <a:prstGeom prst="bentConnector2">
              <a:avLst/>
            </a:prstGeom>
            <a:ln w="762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84873547-B864-770A-9D39-87F922AFEFFB}"/>
                </a:ext>
              </a:extLst>
            </p:cNvPr>
            <p:cNvCxnSpPr>
              <a:cxnSpLocks/>
              <a:stCxn id="5" idx="2"/>
              <a:endCxn id="9" idx="1"/>
            </p:cNvCxnSpPr>
            <p:nvPr/>
          </p:nvCxnSpPr>
          <p:spPr>
            <a:xfrm flipV="1">
              <a:off x="2381250" y="3714750"/>
              <a:ext cx="1937086" cy="12980"/>
            </a:xfrm>
            <a:prstGeom prst="bentConnector3">
              <a:avLst>
                <a:gd name="adj1" fmla="val 50000"/>
              </a:avLst>
            </a:prstGeom>
            <a:ln w="762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0EB9CF64-FCFC-8CDA-3AF1-F72D7AD1CA71}"/>
                </a:ext>
              </a:extLst>
            </p:cNvPr>
            <p:cNvCxnSpPr>
              <a:cxnSpLocks/>
              <a:stCxn id="5" idx="2"/>
              <a:endCxn id="10" idx="1"/>
            </p:cNvCxnSpPr>
            <p:nvPr/>
          </p:nvCxnSpPr>
          <p:spPr>
            <a:xfrm>
              <a:off x="2381250" y="3727730"/>
              <a:ext cx="1937086" cy="922037"/>
            </a:xfrm>
            <a:prstGeom prst="bentConnector3">
              <a:avLst>
                <a:gd name="adj1" fmla="val 62338"/>
              </a:avLst>
            </a:prstGeom>
            <a:ln w="762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3" name="Octagon 72">
              <a:extLst>
                <a:ext uri="{FF2B5EF4-FFF2-40B4-BE49-F238E27FC236}">
                  <a16:creationId xmlns:a16="http://schemas.microsoft.com/office/drawing/2014/main" id="{9DDE30E6-938C-5B95-730C-3F6F624D61A1}"/>
                </a:ext>
              </a:extLst>
            </p:cNvPr>
            <p:cNvSpPr/>
            <p:nvPr/>
          </p:nvSpPr>
          <p:spPr>
            <a:xfrm>
              <a:off x="3028345" y="3874067"/>
              <a:ext cx="457200" cy="457200"/>
            </a:xfrm>
            <a:prstGeom prst="octag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1</a:t>
              </a:r>
            </a:p>
          </p:txBody>
        </p:sp>
        <p:cxnSp>
          <p:nvCxnSpPr>
            <p:cNvPr id="97" name="Elbow Connector 96">
              <a:extLst>
                <a:ext uri="{FF2B5EF4-FFF2-40B4-BE49-F238E27FC236}">
                  <a16:creationId xmlns:a16="http://schemas.microsoft.com/office/drawing/2014/main" id="{8F1B3CAF-B6D1-E060-ED55-80D5E599AAE7}"/>
                </a:ext>
              </a:extLst>
            </p:cNvPr>
            <p:cNvCxnSpPr>
              <a:cxnSpLocks/>
              <a:stCxn id="5" idx="2"/>
              <a:endCxn id="6" idx="0"/>
            </p:cNvCxnSpPr>
            <p:nvPr/>
          </p:nvCxnSpPr>
          <p:spPr>
            <a:xfrm flipH="1">
              <a:off x="2092136" y="3727730"/>
              <a:ext cx="289114" cy="1670394"/>
            </a:xfrm>
            <a:prstGeom prst="bentConnector4">
              <a:avLst>
                <a:gd name="adj1" fmla="val -416910"/>
                <a:gd name="adj2" fmla="val 73509"/>
              </a:avLst>
            </a:prstGeom>
            <a:ln w="762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6" name="Octagon 135">
              <a:extLst>
                <a:ext uri="{FF2B5EF4-FFF2-40B4-BE49-F238E27FC236}">
                  <a16:creationId xmlns:a16="http://schemas.microsoft.com/office/drawing/2014/main" id="{20295349-1A30-1249-0628-9AB4C0128A35}"/>
                </a:ext>
              </a:extLst>
            </p:cNvPr>
            <p:cNvSpPr/>
            <p:nvPr/>
          </p:nvSpPr>
          <p:spPr>
            <a:xfrm>
              <a:off x="6701331" y="1466285"/>
              <a:ext cx="457200" cy="457200"/>
            </a:xfrm>
            <a:prstGeom prst="octag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1</a:t>
              </a:r>
            </a:p>
          </p:txBody>
        </p:sp>
      </p:grpSp>
      <p:sp>
        <p:nvSpPr>
          <p:cNvPr id="4" name="Title 3">
            <a:extLst>
              <a:ext uri="{FF2B5EF4-FFF2-40B4-BE49-F238E27FC236}">
                <a16:creationId xmlns:a16="http://schemas.microsoft.com/office/drawing/2014/main" id="{6C10C31E-C960-8F19-A92D-A8E6F3E9D6B0}"/>
              </a:ext>
            </a:extLst>
          </p:cNvPr>
          <p:cNvSpPr>
            <a:spLocks noGrp="1"/>
          </p:cNvSpPr>
          <p:nvPr>
            <p:ph type="title"/>
          </p:nvPr>
        </p:nvSpPr>
        <p:spPr/>
        <p:txBody>
          <a:bodyPr/>
          <a:lstStyle/>
          <a:p>
            <a:r>
              <a:rPr lang="en-US" sz="3200"/>
              <a:t>Data Access: Generic Segmentation for PPA benchmark</a:t>
            </a:r>
          </a:p>
        </p:txBody>
      </p:sp>
      <p:sp>
        <p:nvSpPr>
          <p:cNvPr id="135" name="Content Placeholder 134">
            <a:extLst>
              <a:ext uri="{FF2B5EF4-FFF2-40B4-BE49-F238E27FC236}">
                <a16:creationId xmlns:a16="http://schemas.microsoft.com/office/drawing/2014/main" id="{C15C606D-A693-FB8A-2466-CF3BCFE8F859}"/>
              </a:ext>
            </a:extLst>
          </p:cNvPr>
          <p:cNvSpPr>
            <a:spLocks noGrp="1"/>
          </p:cNvSpPr>
          <p:nvPr>
            <p:ph idx="1"/>
          </p:nvPr>
        </p:nvSpPr>
        <p:spPr>
          <a:xfrm>
            <a:off x="7231163" y="1369918"/>
            <a:ext cx="4827483" cy="553568"/>
          </a:xfrm>
        </p:spPr>
        <p:txBody>
          <a:bodyPr/>
          <a:lstStyle/>
          <a:p>
            <a:pPr marL="0" indent="0">
              <a:buNone/>
            </a:pPr>
            <a:r>
              <a:rPr lang="en-US" sz="3200" dirty="0"/>
              <a:t>Command Transport</a:t>
            </a:r>
          </a:p>
        </p:txBody>
      </p:sp>
      <p:sp>
        <p:nvSpPr>
          <p:cNvPr id="5" name="Rectangle 4">
            <a:extLst>
              <a:ext uri="{FF2B5EF4-FFF2-40B4-BE49-F238E27FC236}">
                <a16:creationId xmlns:a16="http://schemas.microsoft.com/office/drawing/2014/main" id="{00352236-198F-7564-988E-CF5AD59A1A3D}"/>
              </a:ext>
            </a:extLst>
          </p:cNvPr>
          <p:cNvSpPr/>
          <p:nvPr/>
        </p:nvSpPr>
        <p:spPr>
          <a:xfrm rot="16200000">
            <a:off x="1387195" y="3337205"/>
            <a:ext cx="1207060" cy="78105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solidFill>
                  <a:schemeClr val="tx1"/>
                </a:solidFill>
              </a:rPr>
              <a:t>Control (</a:t>
            </a:r>
            <a:r>
              <a:rPr lang="en-US" dirty="0" err="1">
                <a:solidFill>
                  <a:schemeClr val="tx1"/>
                </a:solidFill>
              </a:rPr>
              <a:t>i</a:t>
            </a:r>
            <a:r>
              <a:rPr lang="en-US" dirty="0">
                <a:solidFill>
                  <a:schemeClr val="tx1"/>
                </a:solidFill>
              </a:rPr>
              <a:t>/p)</a:t>
            </a:r>
          </a:p>
          <a:p>
            <a:endParaRPr lang="en-US" dirty="0"/>
          </a:p>
        </p:txBody>
      </p:sp>
      <p:sp>
        <p:nvSpPr>
          <p:cNvPr id="6" name="Rectangle 5">
            <a:extLst>
              <a:ext uri="{FF2B5EF4-FFF2-40B4-BE49-F238E27FC236}">
                <a16:creationId xmlns:a16="http://schemas.microsoft.com/office/drawing/2014/main" id="{09D7E91F-CD4E-75BB-147A-8233DEB113CB}"/>
              </a:ext>
            </a:extLst>
          </p:cNvPr>
          <p:cNvSpPr/>
          <p:nvPr/>
        </p:nvSpPr>
        <p:spPr>
          <a:xfrm>
            <a:off x="1730390" y="5398124"/>
            <a:ext cx="723492" cy="473199"/>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solidFill>
                  <a:schemeClr val="tx1"/>
                </a:solidFill>
              </a:rPr>
              <a:t>D/Q</a:t>
            </a:r>
          </a:p>
          <a:p>
            <a:endParaRPr lang="en-US" dirty="0"/>
          </a:p>
        </p:txBody>
      </p:sp>
      <p:sp>
        <p:nvSpPr>
          <p:cNvPr id="7" name="Rectangle 6">
            <a:extLst>
              <a:ext uri="{FF2B5EF4-FFF2-40B4-BE49-F238E27FC236}">
                <a16:creationId xmlns:a16="http://schemas.microsoft.com/office/drawing/2014/main" id="{E2A22453-0F07-F54E-A4AA-F341CFD704A6}"/>
              </a:ext>
            </a:extLst>
          </p:cNvPr>
          <p:cNvSpPr/>
          <p:nvPr/>
        </p:nvSpPr>
        <p:spPr>
          <a:xfrm>
            <a:off x="4318336" y="1295400"/>
            <a:ext cx="1938618" cy="1676399"/>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Array</a:t>
            </a:r>
          </a:p>
          <a:p>
            <a:endParaRPr lang="en-US"/>
          </a:p>
        </p:txBody>
      </p:sp>
      <p:sp>
        <p:nvSpPr>
          <p:cNvPr id="8" name="Rectangle 7">
            <a:extLst>
              <a:ext uri="{FF2B5EF4-FFF2-40B4-BE49-F238E27FC236}">
                <a16:creationId xmlns:a16="http://schemas.microsoft.com/office/drawing/2014/main" id="{0BE4A764-4207-0242-7DFC-3AF5D04AB7D4}"/>
              </a:ext>
            </a:extLst>
          </p:cNvPr>
          <p:cNvSpPr/>
          <p:nvPr/>
        </p:nvSpPr>
        <p:spPr>
          <a:xfrm rot="16200000">
            <a:off x="2751754" y="1905000"/>
            <a:ext cx="1676400" cy="4572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Row Dec</a:t>
            </a:r>
          </a:p>
          <a:p>
            <a:endParaRPr lang="en-US"/>
          </a:p>
        </p:txBody>
      </p:sp>
      <p:sp>
        <p:nvSpPr>
          <p:cNvPr id="9" name="Rectangle 8">
            <a:extLst>
              <a:ext uri="{FF2B5EF4-FFF2-40B4-BE49-F238E27FC236}">
                <a16:creationId xmlns:a16="http://schemas.microsoft.com/office/drawing/2014/main" id="{D8A0A603-7279-5B7E-85C8-5BDA299E1A2B}"/>
              </a:ext>
            </a:extLst>
          </p:cNvPr>
          <p:cNvSpPr/>
          <p:nvPr/>
        </p:nvSpPr>
        <p:spPr>
          <a:xfrm>
            <a:off x="4318336" y="3505200"/>
            <a:ext cx="1938618" cy="4191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Col Sen/</a:t>
            </a:r>
            <a:r>
              <a:rPr lang="en-US" err="1">
                <a:solidFill>
                  <a:schemeClr val="tx1"/>
                </a:solidFill>
              </a:rPr>
              <a:t>Dvr</a:t>
            </a:r>
            <a:endParaRPr lang="en-US">
              <a:solidFill>
                <a:schemeClr val="tx1"/>
              </a:solidFill>
            </a:endParaRPr>
          </a:p>
          <a:p>
            <a:endParaRPr lang="en-US"/>
          </a:p>
        </p:txBody>
      </p:sp>
      <p:sp>
        <p:nvSpPr>
          <p:cNvPr id="10" name="Rectangle 9">
            <a:extLst>
              <a:ext uri="{FF2B5EF4-FFF2-40B4-BE49-F238E27FC236}">
                <a16:creationId xmlns:a16="http://schemas.microsoft.com/office/drawing/2014/main" id="{8EF1213A-9771-9DD5-5652-DB1EE377DAFC}"/>
              </a:ext>
            </a:extLst>
          </p:cNvPr>
          <p:cNvSpPr/>
          <p:nvPr/>
        </p:nvSpPr>
        <p:spPr>
          <a:xfrm>
            <a:off x="4318336" y="4440217"/>
            <a:ext cx="1938618" cy="4191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Data / Mux</a:t>
            </a:r>
          </a:p>
          <a:p>
            <a:endParaRPr lang="en-US"/>
          </a:p>
        </p:txBody>
      </p:sp>
      <p:sp>
        <p:nvSpPr>
          <p:cNvPr id="11" name="Rectangle 10">
            <a:extLst>
              <a:ext uri="{FF2B5EF4-FFF2-40B4-BE49-F238E27FC236}">
                <a16:creationId xmlns:a16="http://schemas.microsoft.com/office/drawing/2014/main" id="{2E225A84-51B3-C9F7-035A-61483DF6309E}"/>
              </a:ext>
            </a:extLst>
          </p:cNvPr>
          <p:cNvSpPr/>
          <p:nvPr/>
        </p:nvSpPr>
        <p:spPr>
          <a:xfrm rot="16200000">
            <a:off x="1348067" y="1743074"/>
            <a:ext cx="1285315" cy="78105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solidFill>
                  <a:schemeClr val="tx1"/>
                </a:solidFill>
              </a:rPr>
              <a:t>Address Register</a:t>
            </a:r>
          </a:p>
          <a:p>
            <a:endParaRPr lang="en-US" dirty="0"/>
          </a:p>
        </p:txBody>
      </p:sp>
      <p:grpSp>
        <p:nvGrpSpPr>
          <p:cNvPr id="19" name="Group 18">
            <a:extLst>
              <a:ext uri="{FF2B5EF4-FFF2-40B4-BE49-F238E27FC236}">
                <a16:creationId xmlns:a16="http://schemas.microsoft.com/office/drawing/2014/main" id="{DF801A91-401F-EF5F-F829-C2B5BDD174A0}"/>
              </a:ext>
            </a:extLst>
          </p:cNvPr>
          <p:cNvGrpSpPr/>
          <p:nvPr/>
        </p:nvGrpSpPr>
        <p:grpSpPr>
          <a:xfrm>
            <a:off x="3818554" y="1562088"/>
            <a:ext cx="8240090" cy="1814387"/>
            <a:chOff x="3818554" y="1562088"/>
            <a:chExt cx="8240090" cy="1814387"/>
          </a:xfrm>
        </p:grpSpPr>
        <p:cxnSp>
          <p:nvCxnSpPr>
            <p:cNvPr id="51" name="Straight Arrow Connector 50">
              <a:extLst>
                <a:ext uri="{FF2B5EF4-FFF2-40B4-BE49-F238E27FC236}">
                  <a16:creationId xmlns:a16="http://schemas.microsoft.com/office/drawing/2014/main" id="{439E1FC5-4FA2-9668-8075-ABFB9CA852EA}"/>
                </a:ext>
              </a:extLst>
            </p:cNvPr>
            <p:cNvCxnSpPr>
              <a:cxnSpLocks/>
              <a:stCxn id="8" idx="2"/>
            </p:cNvCxnSpPr>
            <p:nvPr/>
          </p:nvCxnSpPr>
          <p:spPr>
            <a:xfrm>
              <a:off x="3818554" y="2133600"/>
              <a:ext cx="2133600"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74" name="Octagon 73">
              <a:extLst>
                <a:ext uri="{FF2B5EF4-FFF2-40B4-BE49-F238E27FC236}">
                  <a16:creationId xmlns:a16="http://schemas.microsoft.com/office/drawing/2014/main" id="{C185AFD9-977C-1D15-6E5D-3A18A0F1EFA2}"/>
                </a:ext>
              </a:extLst>
            </p:cNvPr>
            <p:cNvSpPr/>
            <p:nvPr/>
          </p:nvSpPr>
          <p:spPr>
            <a:xfrm>
              <a:off x="5799754" y="1562088"/>
              <a:ext cx="457200" cy="457200"/>
            </a:xfrm>
            <a:prstGeom prst="octagon">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3</a:t>
              </a:r>
            </a:p>
          </p:txBody>
        </p:sp>
        <p:sp>
          <p:nvSpPr>
            <p:cNvPr id="139" name="Octagon 138">
              <a:extLst>
                <a:ext uri="{FF2B5EF4-FFF2-40B4-BE49-F238E27FC236}">
                  <a16:creationId xmlns:a16="http://schemas.microsoft.com/office/drawing/2014/main" id="{09DAED59-1741-8EAE-4CA6-264649DC7563}"/>
                </a:ext>
              </a:extLst>
            </p:cNvPr>
            <p:cNvSpPr/>
            <p:nvPr/>
          </p:nvSpPr>
          <p:spPr>
            <a:xfrm>
              <a:off x="6691229" y="2919275"/>
              <a:ext cx="457200" cy="457200"/>
            </a:xfrm>
            <a:prstGeom prst="octagon">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3</a:t>
              </a:r>
            </a:p>
          </p:txBody>
        </p:sp>
        <p:sp>
          <p:nvSpPr>
            <p:cNvPr id="3" name="Content Placeholder 134">
              <a:extLst>
                <a:ext uri="{FF2B5EF4-FFF2-40B4-BE49-F238E27FC236}">
                  <a16:creationId xmlns:a16="http://schemas.microsoft.com/office/drawing/2014/main" id="{7C2C6B12-6C9D-E1D1-2139-165C540A938E}"/>
                </a:ext>
              </a:extLst>
            </p:cNvPr>
            <p:cNvSpPr txBox="1">
              <a:spLocks/>
            </p:cNvSpPr>
            <p:nvPr/>
          </p:nvSpPr>
          <p:spPr bwMode="auto">
            <a:xfrm>
              <a:off x="7231161" y="2838898"/>
              <a:ext cx="4827483" cy="464419"/>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defTabSz="914400">
                <a:buFontTx/>
                <a:buNone/>
              </a:pPr>
              <a:r>
                <a:rPr lang="en-US" sz="3200" kern="0" dirty="0"/>
                <a:t>Row Access</a:t>
              </a:r>
            </a:p>
          </p:txBody>
        </p:sp>
      </p:grpSp>
      <p:grpSp>
        <p:nvGrpSpPr>
          <p:cNvPr id="20" name="Group 19">
            <a:extLst>
              <a:ext uri="{FF2B5EF4-FFF2-40B4-BE49-F238E27FC236}">
                <a16:creationId xmlns:a16="http://schemas.microsoft.com/office/drawing/2014/main" id="{2B21C4C9-655D-CC8E-438D-EB256BCE19E2}"/>
              </a:ext>
            </a:extLst>
          </p:cNvPr>
          <p:cNvGrpSpPr/>
          <p:nvPr/>
        </p:nvGrpSpPr>
        <p:grpSpPr>
          <a:xfrm>
            <a:off x="4580554" y="1776069"/>
            <a:ext cx="7478090" cy="2332963"/>
            <a:chOff x="4580554" y="1776069"/>
            <a:chExt cx="7478090" cy="2332963"/>
          </a:xfrm>
        </p:grpSpPr>
        <p:cxnSp>
          <p:nvCxnSpPr>
            <p:cNvPr id="53" name="Straight Arrow Connector 52">
              <a:extLst>
                <a:ext uri="{FF2B5EF4-FFF2-40B4-BE49-F238E27FC236}">
                  <a16:creationId xmlns:a16="http://schemas.microsoft.com/office/drawing/2014/main" id="{7F356832-EB2E-08E7-AE52-AB5824E30A16}"/>
                </a:ext>
              </a:extLst>
            </p:cNvPr>
            <p:cNvCxnSpPr>
              <a:cxnSpLocks/>
            </p:cNvCxnSpPr>
            <p:nvPr/>
          </p:nvCxnSpPr>
          <p:spPr>
            <a:xfrm>
              <a:off x="4580554" y="1776069"/>
              <a:ext cx="0" cy="1729131"/>
            </a:xfrm>
            <a:prstGeom prst="straightConnector1">
              <a:avLst/>
            </a:prstGeom>
            <a:ln w="76200">
              <a:solidFill>
                <a:srgbClr val="7030A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AC17D8A-12F4-1848-8685-F7685375DE6D}"/>
                </a:ext>
              </a:extLst>
            </p:cNvPr>
            <p:cNvCxnSpPr>
              <a:cxnSpLocks/>
            </p:cNvCxnSpPr>
            <p:nvPr/>
          </p:nvCxnSpPr>
          <p:spPr>
            <a:xfrm>
              <a:off x="4885354" y="1776069"/>
              <a:ext cx="0" cy="1729131"/>
            </a:xfrm>
            <a:prstGeom prst="straightConnector1">
              <a:avLst/>
            </a:prstGeom>
            <a:ln w="76200">
              <a:solidFill>
                <a:srgbClr val="7030A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13B940B8-5616-CF8F-41F9-3748F7722062}"/>
                </a:ext>
              </a:extLst>
            </p:cNvPr>
            <p:cNvCxnSpPr>
              <a:cxnSpLocks/>
            </p:cNvCxnSpPr>
            <p:nvPr/>
          </p:nvCxnSpPr>
          <p:spPr>
            <a:xfrm>
              <a:off x="5571154" y="1776069"/>
              <a:ext cx="0" cy="1729131"/>
            </a:xfrm>
            <a:prstGeom prst="straightConnector1">
              <a:avLst/>
            </a:prstGeom>
            <a:ln w="76200">
              <a:solidFill>
                <a:srgbClr val="7030A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D91236CE-B0B9-5DFF-FBB2-FAEE7D8FC3E5}"/>
                </a:ext>
              </a:extLst>
            </p:cNvPr>
            <p:cNvSpPr txBox="1"/>
            <p:nvPr/>
          </p:nvSpPr>
          <p:spPr>
            <a:xfrm>
              <a:off x="4900359" y="2614270"/>
              <a:ext cx="646331" cy="646331"/>
            </a:xfrm>
            <a:prstGeom prst="rect">
              <a:avLst/>
            </a:prstGeom>
            <a:noFill/>
            <a:ln>
              <a:noFill/>
            </a:ln>
          </p:spPr>
          <p:txBody>
            <a:bodyPr wrap="none" rtlCol="0">
              <a:spAutoFit/>
            </a:bodyPr>
            <a:lstStyle/>
            <a:p>
              <a:r>
                <a:rPr lang="en-US" sz="3600" b="1">
                  <a:solidFill>
                    <a:srgbClr val="7030A0"/>
                  </a:solidFill>
                </a:rPr>
                <a:t>…</a:t>
              </a:r>
              <a:endParaRPr lang="en-US" b="1">
                <a:solidFill>
                  <a:srgbClr val="7030A0"/>
                </a:solidFill>
              </a:endParaRPr>
            </a:p>
          </p:txBody>
        </p:sp>
        <p:sp>
          <p:nvSpPr>
            <p:cNvPr id="75" name="Octagon 74">
              <a:extLst>
                <a:ext uri="{FF2B5EF4-FFF2-40B4-BE49-F238E27FC236}">
                  <a16:creationId xmlns:a16="http://schemas.microsoft.com/office/drawing/2014/main" id="{7C5473BD-ACF7-3601-F453-6B6D980FEEFC}"/>
                </a:ext>
              </a:extLst>
            </p:cNvPr>
            <p:cNvSpPr/>
            <p:nvPr/>
          </p:nvSpPr>
          <p:spPr>
            <a:xfrm>
              <a:off x="5723554" y="2987798"/>
              <a:ext cx="457200" cy="457200"/>
            </a:xfrm>
            <a:prstGeom prst="octagon">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4</a:t>
              </a:r>
            </a:p>
          </p:txBody>
        </p:sp>
        <p:sp>
          <p:nvSpPr>
            <p:cNvPr id="140" name="Octagon 139">
              <a:extLst>
                <a:ext uri="{FF2B5EF4-FFF2-40B4-BE49-F238E27FC236}">
                  <a16:creationId xmlns:a16="http://schemas.microsoft.com/office/drawing/2014/main" id="{597DEC2C-AC30-5E26-9D46-412529C3400C}"/>
                </a:ext>
              </a:extLst>
            </p:cNvPr>
            <p:cNvSpPr/>
            <p:nvPr/>
          </p:nvSpPr>
          <p:spPr>
            <a:xfrm>
              <a:off x="6691229" y="3651832"/>
              <a:ext cx="457200" cy="457200"/>
            </a:xfrm>
            <a:prstGeom prst="octagon">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4</a:t>
              </a:r>
            </a:p>
          </p:txBody>
        </p:sp>
        <p:sp>
          <p:nvSpPr>
            <p:cNvPr id="12" name="Content Placeholder 134">
              <a:extLst>
                <a:ext uri="{FF2B5EF4-FFF2-40B4-BE49-F238E27FC236}">
                  <a16:creationId xmlns:a16="http://schemas.microsoft.com/office/drawing/2014/main" id="{F7086A73-3018-8ED5-5FF0-BFA94BE9E2F5}"/>
                </a:ext>
              </a:extLst>
            </p:cNvPr>
            <p:cNvSpPr txBox="1">
              <a:spLocks/>
            </p:cNvSpPr>
            <p:nvPr/>
          </p:nvSpPr>
          <p:spPr bwMode="auto">
            <a:xfrm>
              <a:off x="7231161" y="3568099"/>
              <a:ext cx="4827483" cy="533386"/>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defTabSz="914400">
                <a:buFontTx/>
                <a:buNone/>
              </a:pPr>
              <a:r>
                <a:rPr lang="en-US" sz="3200" kern="0" dirty="0"/>
                <a:t>Column Access</a:t>
              </a:r>
            </a:p>
          </p:txBody>
        </p:sp>
      </p:grpSp>
      <p:grpSp>
        <p:nvGrpSpPr>
          <p:cNvPr id="22" name="Group 21">
            <a:extLst>
              <a:ext uri="{FF2B5EF4-FFF2-40B4-BE49-F238E27FC236}">
                <a16:creationId xmlns:a16="http://schemas.microsoft.com/office/drawing/2014/main" id="{FA774D33-5BC0-A476-36CC-3BC6BF93CF37}"/>
              </a:ext>
            </a:extLst>
          </p:cNvPr>
          <p:cNvGrpSpPr/>
          <p:nvPr/>
        </p:nvGrpSpPr>
        <p:grpSpPr>
          <a:xfrm>
            <a:off x="4842524" y="3913909"/>
            <a:ext cx="7216119" cy="961351"/>
            <a:chOff x="4842524" y="3913909"/>
            <a:chExt cx="7216119" cy="961351"/>
          </a:xfrm>
        </p:grpSpPr>
        <p:sp>
          <p:nvSpPr>
            <p:cNvPr id="71" name="Decagon 70">
              <a:extLst>
                <a:ext uri="{FF2B5EF4-FFF2-40B4-BE49-F238E27FC236}">
                  <a16:creationId xmlns:a16="http://schemas.microsoft.com/office/drawing/2014/main" id="{BD4A62B8-162A-82FE-D0A7-80AA0341FAFF}"/>
                </a:ext>
              </a:extLst>
            </p:cNvPr>
            <p:cNvSpPr/>
            <p:nvPr/>
          </p:nvSpPr>
          <p:spPr>
            <a:xfrm>
              <a:off x="5705061" y="3913909"/>
              <a:ext cx="558427" cy="49693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5</a:t>
              </a:r>
            </a:p>
          </p:txBody>
        </p:sp>
        <p:sp>
          <p:nvSpPr>
            <p:cNvPr id="76" name="Up-Down Arrow 75">
              <a:extLst>
                <a:ext uri="{FF2B5EF4-FFF2-40B4-BE49-F238E27FC236}">
                  <a16:creationId xmlns:a16="http://schemas.microsoft.com/office/drawing/2014/main" id="{B2A2E007-B1F0-00BC-2870-FB1BE78D89A0}"/>
                </a:ext>
              </a:extLst>
            </p:cNvPr>
            <p:cNvSpPr/>
            <p:nvPr/>
          </p:nvSpPr>
          <p:spPr>
            <a:xfrm>
              <a:off x="4842524" y="3944916"/>
              <a:ext cx="762000" cy="474683"/>
            </a:xfrm>
            <a:prstGeom prst="upDownArrow">
              <a:avLst>
                <a:gd name="adj1" fmla="val 50000"/>
                <a:gd name="adj2" fmla="val 26219"/>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Decagon 140">
              <a:extLst>
                <a:ext uri="{FF2B5EF4-FFF2-40B4-BE49-F238E27FC236}">
                  <a16:creationId xmlns:a16="http://schemas.microsoft.com/office/drawing/2014/main" id="{9B256D56-3212-95F0-5C36-556DD66ED903}"/>
                </a:ext>
              </a:extLst>
            </p:cNvPr>
            <p:cNvSpPr/>
            <p:nvPr/>
          </p:nvSpPr>
          <p:spPr>
            <a:xfrm>
              <a:off x="6691228" y="4378327"/>
              <a:ext cx="558427" cy="49693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5</a:t>
              </a:r>
            </a:p>
          </p:txBody>
        </p:sp>
        <p:sp>
          <p:nvSpPr>
            <p:cNvPr id="13" name="Content Placeholder 134">
              <a:extLst>
                <a:ext uri="{FF2B5EF4-FFF2-40B4-BE49-F238E27FC236}">
                  <a16:creationId xmlns:a16="http://schemas.microsoft.com/office/drawing/2014/main" id="{C4D75B4B-8561-12C2-24AF-670EE23CFB45}"/>
                </a:ext>
              </a:extLst>
            </p:cNvPr>
            <p:cNvSpPr txBox="1">
              <a:spLocks/>
            </p:cNvSpPr>
            <p:nvPr/>
          </p:nvSpPr>
          <p:spPr bwMode="auto">
            <a:xfrm>
              <a:off x="7231160" y="4307530"/>
              <a:ext cx="4827483" cy="551787"/>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defTabSz="914400">
                <a:buFontTx/>
                <a:buNone/>
              </a:pPr>
              <a:r>
                <a:rPr lang="en-US" sz="3200" kern="0" dirty="0"/>
                <a:t>Data Transport @ Bank</a:t>
              </a:r>
            </a:p>
          </p:txBody>
        </p:sp>
      </p:grpSp>
      <p:grpSp>
        <p:nvGrpSpPr>
          <p:cNvPr id="23" name="Group 22">
            <a:extLst>
              <a:ext uri="{FF2B5EF4-FFF2-40B4-BE49-F238E27FC236}">
                <a16:creationId xmlns:a16="http://schemas.microsoft.com/office/drawing/2014/main" id="{033B14C1-F50A-7BC2-6FC3-FE42292C5AE9}"/>
              </a:ext>
            </a:extLst>
          </p:cNvPr>
          <p:cNvGrpSpPr/>
          <p:nvPr/>
        </p:nvGrpSpPr>
        <p:grpSpPr>
          <a:xfrm>
            <a:off x="2453883" y="4859317"/>
            <a:ext cx="9623255" cy="775407"/>
            <a:chOff x="2453883" y="4859317"/>
            <a:chExt cx="9623255" cy="775407"/>
          </a:xfrm>
        </p:grpSpPr>
        <p:cxnSp>
          <p:nvCxnSpPr>
            <p:cNvPr id="77" name="Elbow Connector 76">
              <a:extLst>
                <a:ext uri="{FF2B5EF4-FFF2-40B4-BE49-F238E27FC236}">
                  <a16:creationId xmlns:a16="http://schemas.microsoft.com/office/drawing/2014/main" id="{3381DA7E-1345-94F6-899B-E433ED7E7787}"/>
                </a:ext>
              </a:extLst>
            </p:cNvPr>
            <p:cNvCxnSpPr>
              <a:cxnSpLocks/>
              <a:stCxn id="10" idx="2"/>
              <a:endCxn id="6" idx="3"/>
            </p:cNvCxnSpPr>
            <p:nvPr/>
          </p:nvCxnSpPr>
          <p:spPr>
            <a:xfrm rot="5400000">
              <a:off x="3483061" y="3830139"/>
              <a:ext cx="775407" cy="2833763"/>
            </a:xfrm>
            <a:prstGeom prst="bentConnector2">
              <a:avLst/>
            </a:prstGeom>
            <a:ln w="76200">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7" name="Decagon 86">
              <a:extLst>
                <a:ext uri="{FF2B5EF4-FFF2-40B4-BE49-F238E27FC236}">
                  <a16:creationId xmlns:a16="http://schemas.microsoft.com/office/drawing/2014/main" id="{28952DB8-44E9-EFCB-DFF7-1B4F3E265764}"/>
                </a:ext>
              </a:extLst>
            </p:cNvPr>
            <p:cNvSpPr/>
            <p:nvPr/>
          </p:nvSpPr>
          <p:spPr>
            <a:xfrm>
              <a:off x="4563310" y="5029950"/>
              <a:ext cx="558427" cy="496933"/>
            </a:xfrm>
            <a:prstGeom prst="decagon">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42" name="Decagon 141">
              <a:extLst>
                <a:ext uri="{FF2B5EF4-FFF2-40B4-BE49-F238E27FC236}">
                  <a16:creationId xmlns:a16="http://schemas.microsoft.com/office/drawing/2014/main" id="{CF9917D9-2BA6-440A-798C-5B7F8E927EC2}"/>
                </a:ext>
              </a:extLst>
            </p:cNvPr>
            <p:cNvSpPr/>
            <p:nvPr/>
          </p:nvSpPr>
          <p:spPr>
            <a:xfrm>
              <a:off x="6691229" y="5097248"/>
              <a:ext cx="558427" cy="496933"/>
            </a:xfrm>
            <a:prstGeom prst="decagon">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4" name="Content Placeholder 134">
              <a:extLst>
                <a:ext uri="{FF2B5EF4-FFF2-40B4-BE49-F238E27FC236}">
                  <a16:creationId xmlns:a16="http://schemas.microsoft.com/office/drawing/2014/main" id="{817943B2-7F01-90F3-9DCA-FBDFD0E97DCE}"/>
                </a:ext>
              </a:extLst>
            </p:cNvPr>
            <p:cNvSpPr txBox="1">
              <a:spLocks/>
            </p:cNvSpPr>
            <p:nvPr/>
          </p:nvSpPr>
          <p:spPr bwMode="auto">
            <a:xfrm>
              <a:off x="7249655" y="5044027"/>
              <a:ext cx="4827483" cy="590696"/>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415526" indent="-415526" algn="l" rtl="0" eaLnBrk="1" fontAlgn="base" hangingPunct="1">
                <a:spcBef>
                  <a:spcPct val="50000"/>
                </a:spcBef>
                <a:spcAft>
                  <a:spcPct val="0"/>
                </a:spcAft>
                <a:buClr>
                  <a:schemeClr val="accent2"/>
                </a:buClr>
                <a:buChar char="•"/>
                <a:defRPr sz="3878" b="1">
                  <a:solidFill>
                    <a:schemeClr val="tx1"/>
                  </a:solidFill>
                  <a:latin typeface="Calibri" pitchFamily="34" charset="0"/>
                  <a:ea typeface="+mn-ea"/>
                  <a:cs typeface="Calibri" pitchFamily="34" charset="0"/>
                </a:defRPr>
              </a:lvl1pPr>
              <a:lvl2pPr marL="900307" indent="-346272" algn="l" rtl="0" eaLnBrk="1" fontAlgn="base" hangingPunct="1">
                <a:spcBef>
                  <a:spcPts val="0"/>
                </a:spcBef>
                <a:spcAft>
                  <a:spcPct val="0"/>
                </a:spcAft>
                <a:buClr>
                  <a:schemeClr val="accent2"/>
                </a:buClr>
                <a:buChar char="–"/>
                <a:defRPr sz="3878">
                  <a:solidFill>
                    <a:schemeClr val="tx1"/>
                  </a:solidFill>
                  <a:latin typeface="Calibri" pitchFamily="34" charset="0"/>
                  <a:cs typeface="Calibri" pitchFamily="34" charset="0"/>
                </a:defRPr>
              </a:lvl2pPr>
              <a:lvl3pPr marL="1385087" indent="-277017" algn="l" rtl="0" eaLnBrk="1" fontAlgn="base" hangingPunct="1">
                <a:spcBef>
                  <a:spcPts val="0"/>
                </a:spcBef>
                <a:spcAft>
                  <a:spcPct val="0"/>
                </a:spcAft>
                <a:buClr>
                  <a:schemeClr val="accent2"/>
                </a:buClr>
                <a:buChar char="•"/>
                <a:defRPr sz="3393">
                  <a:solidFill>
                    <a:schemeClr val="tx1"/>
                  </a:solidFill>
                  <a:latin typeface="Calibri" pitchFamily="34" charset="0"/>
                  <a:cs typeface="Calibri" pitchFamily="34" charset="0"/>
                </a:defRPr>
              </a:lvl3pPr>
              <a:lvl4pPr marL="1939122"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4pPr>
              <a:lvl5pPr marL="2493157" indent="-277017" algn="l" rtl="0" eaLnBrk="1" fontAlgn="base" hangingPunct="1">
                <a:spcBef>
                  <a:spcPts val="0"/>
                </a:spcBef>
                <a:spcAft>
                  <a:spcPct val="0"/>
                </a:spcAft>
                <a:buClr>
                  <a:schemeClr val="accent2"/>
                </a:buClr>
                <a:buChar char="»"/>
                <a:defRPr sz="2908">
                  <a:solidFill>
                    <a:schemeClr val="tx1"/>
                  </a:solidFill>
                  <a:latin typeface="Calibri" pitchFamily="34" charset="0"/>
                  <a:cs typeface="Calibri" pitchFamily="34" charset="0"/>
                </a:defRPr>
              </a:lvl5pPr>
              <a:lvl6pPr marL="3047192" indent="-277017" algn="l" rtl="0" eaLnBrk="1" fontAlgn="base" hangingPunct="1">
                <a:spcBef>
                  <a:spcPct val="50000"/>
                </a:spcBef>
                <a:spcAft>
                  <a:spcPct val="0"/>
                </a:spcAft>
                <a:buClr>
                  <a:schemeClr val="accent2"/>
                </a:buClr>
                <a:buChar char="»"/>
                <a:defRPr sz="2908">
                  <a:solidFill>
                    <a:schemeClr val="tx1"/>
                  </a:solidFill>
                  <a:latin typeface="+mn-lt"/>
                </a:defRPr>
              </a:lvl6pPr>
              <a:lvl7pPr marL="3601227" indent="-277017" algn="l" rtl="0" eaLnBrk="1" fontAlgn="base" hangingPunct="1">
                <a:spcBef>
                  <a:spcPct val="50000"/>
                </a:spcBef>
                <a:spcAft>
                  <a:spcPct val="0"/>
                </a:spcAft>
                <a:buClr>
                  <a:schemeClr val="accent2"/>
                </a:buClr>
                <a:buChar char="»"/>
                <a:defRPr sz="2908">
                  <a:solidFill>
                    <a:schemeClr val="tx1"/>
                  </a:solidFill>
                  <a:latin typeface="+mn-lt"/>
                </a:defRPr>
              </a:lvl7pPr>
              <a:lvl8pPr marL="4155262" indent="-277017" algn="l" rtl="0" eaLnBrk="1" fontAlgn="base" hangingPunct="1">
                <a:spcBef>
                  <a:spcPct val="50000"/>
                </a:spcBef>
                <a:spcAft>
                  <a:spcPct val="0"/>
                </a:spcAft>
                <a:buClr>
                  <a:schemeClr val="accent2"/>
                </a:buClr>
                <a:buChar char="»"/>
                <a:defRPr sz="2908">
                  <a:solidFill>
                    <a:schemeClr val="tx1"/>
                  </a:solidFill>
                  <a:latin typeface="+mn-lt"/>
                </a:defRPr>
              </a:lvl8pPr>
              <a:lvl9pPr marL="4709297" indent="-277017" algn="l" rtl="0" eaLnBrk="1" fontAlgn="base" hangingPunct="1">
                <a:spcBef>
                  <a:spcPct val="50000"/>
                </a:spcBef>
                <a:spcAft>
                  <a:spcPct val="0"/>
                </a:spcAft>
                <a:buClr>
                  <a:schemeClr val="accent2"/>
                </a:buClr>
                <a:buChar char="»"/>
                <a:defRPr sz="2908">
                  <a:solidFill>
                    <a:schemeClr val="tx1"/>
                  </a:solidFill>
                  <a:latin typeface="+mn-lt"/>
                </a:defRPr>
              </a:lvl9pPr>
            </a:lstStyle>
            <a:p>
              <a:pPr marL="0" indent="0" defTabSz="914400">
                <a:buFontTx/>
                <a:buNone/>
              </a:pPr>
              <a:r>
                <a:rPr lang="en-US" sz="3200" kern="0" dirty="0"/>
                <a:t>Data Transport @ Channel</a:t>
              </a:r>
            </a:p>
          </p:txBody>
        </p:sp>
      </p:grpSp>
      <p:sp>
        <p:nvSpPr>
          <p:cNvPr id="25" name="Rounded Rectangle 24">
            <a:extLst>
              <a:ext uri="{FF2B5EF4-FFF2-40B4-BE49-F238E27FC236}">
                <a16:creationId xmlns:a16="http://schemas.microsoft.com/office/drawing/2014/main" id="{87263E05-C298-192C-825E-7C2D4BFA70AA}"/>
              </a:ext>
            </a:extLst>
          </p:cNvPr>
          <p:cNvSpPr/>
          <p:nvPr/>
        </p:nvSpPr>
        <p:spPr>
          <a:xfrm>
            <a:off x="1289786" y="990600"/>
            <a:ext cx="5245768" cy="5159943"/>
          </a:xfrm>
          <a:prstGeom prst="roundRect">
            <a:avLst/>
          </a:prstGeom>
          <a:noFill/>
          <a:ln w="38100">
            <a:solidFill>
              <a:schemeClr val="accent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34505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5">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137D4-61AD-7F69-DB31-CF389439F912}"/>
              </a:ext>
            </a:extLst>
          </p:cNvPr>
          <p:cNvSpPr>
            <a:spLocks noGrp="1"/>
          </p:cNvSpPr>
          <p:nvPr>
            <p:ph type="title"/>
          </p:nvPr>
        </p:nvSpPr>
        <p:spPr>
          <a:xfrm>
            <a:off x="914400" y="152400"/>
            <a:ext cx="10363200" cy="419100"/>
          </a:xfrm>
        </p:spPr>
        <p:txBody>
          <a:bodyPr/>
          <a:lstStyle/>
          <a:p>
            <a:r>
              <a:rPr lang="en-US" sz="3200" dirty="0"/>
              <a:t>R/W Access Timing</a:t>
            </a:r>
          </a:p>
        </p:txBody>
      </p:sp>
      <p:sp>
        <p:nvSpPr>
          <p:cNvPr id="3" name="Content Placeholder 2">
            <a:extLst>
              <a:ext uri="{FF2B5EF4-FFF2-40B4-BE49-F238E27FC236}">
                <a16:creationId xmlns:a16="http://schemas.microsoft.com/office/drawing/2014/main" id="{889A346F-D88D-9C68-2D85-17719C3924FA}"/>
              </a:ext>
            </a:extLst>
          </p:cNvPr>
          <p:cNvSpPr>
            <a:spLocks noGrp="1"/>
          </p:cNvSpPr>
          <p:nvPr>
            <p:ph idx="1"/>
          </p:nvPr>
        </p:nvSpPr>
        <p:spPr>
          <a:xfrm>
            <a:off x="3965608" y="3799827"/>
            <a:ext cx="8073991" cy="2344954"/>
          </a:xfrm>
        </p:spPr>
        <p:txBody>
          <a:bodyPr/>
          <a:lstStyle/>
          <a:p>
            <a:pPr marL="0" indent="0">
              <a:buNone/>
            </a:pPr>
            <a:r>
              <a:rPr lang="en-US" sz="1400" dirty="0"/>
              <a:t>Number series of DDR timing , </a:t>
            </a:r>
            <a:r>
              <a:rPr lang="en-US" sz="1400" dirty="0" err="1"/>
              <a:t>eg.</a:t>
            </a:r>
            <a:r>
              <a:rPr lang="en-US" sz="1400" dirty="0"/>
              <a:t> 4-4-4-10-1, are cycle counts of bus clock, </a:t>
            </a:r>
            <a:r>
              <a:rPr lang="en-US" sz="1400" dirty="0" err="1"/>
              <a:t>ie</a:t>
            </a:r>
            <a:r>
              <a:rPr lang="en-US" sz="1400" dirty="0"/>
              <a:t>. </a:t>
            </a:r>
            <a:r>
              <a:rPr lang="en-US" sz="1400" dirty="0" err="1"/>
              <a:t>tCL</a:t>
            </a:r>
            <a:r>
              <a:rPr lang="en-US" sz="1400" dirty="0"/>
              <a:t>-</a:t>
            </a:r>
            <a:r>
              <a:rPr lang="en-US" sz="1400" dirty="0" err="1"/>
              <a:t>tRCD</a:t>
            </a:r>
            <a:r>
              <a:rPr lang="en-US" sz="1400" dirty="0"/>
              <a:t>-</a:t>
            </a:r>
            <a:r>
              <a:rPr lang="en-US" sz="1400" dirty="0" err="1"/>
              <a:t>tRP</a:t>
            </a:r>
            <a:r>
              <a:rPr lang="en-US" sz="1400" dirty="0"/>
              <a:t>-</a:t>
            </a:r>
            <a:r>
              <a:rPr lang="en-US" sz="1400" dirty="0" err="1"/>
              <a:t>tRAS</a:t>
            </a:r>
            <a:r>
              <a:rPr lang="en-US" sz="1400" dirty="0"/>
              <a:t>-CMD </a:t>
            </a:r>
          </a:p>
          <a:p>
            <a:pPr>
              <a:spcBef>
                <a:spcPts val="0"/>
              </a:spcBef>
            </a:pPr>
            <a:r>
              <a:rPr lang="en-US" sz="1400" b="0" dirty="0" err="1"/>
              <a:t>tCL</a:t>
            </a:r>
            <a:r>
              <a:rPr lang="en-US" sz="1400" b="0" dirty="0"/>
              <a:t> (</a:t>
            </a:r>
            <a:r>
              <a:rPr lang="en-US" sz="1400" b="0" u="sng" dirty="0"/>
              <a:t>C</a:t>
            </a:r>
            <a:r>
              <a:rPr lang="en-US" sz="1400" b="0" dirty="0"/>
              <a:t>AS </a:t>
            </a:r>
            <a:r>
              <a:rPr lang="en-US" sz="1400" b="0" u="sng" dirty="0"/>
              <a:t>L</a:t>
            </a:r>
            <a:r>
              <a:rPr lang="en-US" sz="1400" b="0" dirty="0"/>
              <a:t>atency): </a:t>
            </a:r>
            <a:r>
              <a:rPr lang="en-US" sz="1400" b="0" dirty="0">
                <a:solidFill>
                  <a:schemeClr val="accent2"/>
                </a:solidFill>
              </a:rPr>
              <a:t>1</a:t>
            </a:r>
            <a:r>
              <a:rPr lang="en-US" sz="1400" b="0" dirty="0"/>
              <a:t>+</a:t>
            </a:r>
            <a:r>
              <a:rPr lang="en-US" sz="1400" b="0" dirty="0">
                <a:solidFill>
                  <a:schemeClr val="bg1">
                    <a:lumMod val="65000"/>
                  </a:schemeClr>
                </a:solidFill>
              </a:rPr>
              <a:t>5</a:t>
            </a:r>
            <a:r>
              <a:rPr lang="en-US" sz="1400" b="0" dirty="0"/>
              <a:t>+6 – Time from asking (CAS) to the begin of data return.</a:t>
            </a:r>
          </a:p>
          <a:p>
            <a:pPr>
              <a:spcBef>
                <a:spcPts val="0"/>
              </a:spcBef>
            </a:pPr>
            <a:r>
              <a:rPr lang="en-US" sz="1400" b="0" dirty="0" err="1"/>
              <a:t>tRCD</a:t>
            </a:r>
            <a:r>
              <a:rPr lang="en-US" sz="1400" b="0" dirty="0"/>
              <a:t> (</a:t>
            </a:r>
            <a:r>
              <a:rPr lang="en-US" sz="1400" b="0" u="sng" dirty="0"/>
              <a:t>R</a:t>
            </a:r>
            <a:r>
              <a:rPr lang="en-US" sz="1400" b="0" dirty="0"/>
              <a:t>AS to </a:t>
            </a:r>
            <a:r>
              <a:rPr lang="en-US" sz="1400" b="0" u="sng" dirty="0"/>
              <a:t>C</a:t>
            </a:r>
            <a:r>
              <a:rPr lang="en-US" sz="1400" b="0" dirty="0"/>
              <a:t>AS </a:t>
            </a:r>
            <a:r>
              <a:rPr lang="en-US" sz="1400" b="0" u="sng" dirty="0"/>
              <a:t>D</a:t>
            </a:r>
            <a:r>
              <a:rPr lang="en-US" sz="1400" b="0" dirty="0"/>
              <a:t>elay): </a:t>
            </a:r>
            <a:r>
              <a:rPr lang="en-US" sz="1400" b="0" dirty="0">
                <a:solidFill>
                  <a:srgbClr val="00B050"/>
                </a:solidFill>
              </a:rPr>
              <a:t>3 to </a:t>
            </a:r>
            <a:r>
              <a:rPr lang="en-US" sz="1400" b="0" dirty="0">
                <a:solidFill>
                  <a:srgbClr val="7030A0"/>
                </a:solidFill>
              </a:rPr>
              <a:t>4 –</a:t>
            </a:r>
            <a:r>
              <a:rPr lang="en-US" sz="1400" b="0" dirty="0"/>
              <a:t> Time to activate a row to access columns</a:t>
            </a:r>
            <a:br>
              <a:rPr lang="en-US" sz="1400" b="0" dirty="0"/>
            </a:br>
            <a:r>
              <a:rPr lang="en-US" sz="1400" b="0" dirty="0"/>
              <a:t>To read the first bit without any row activation: </a:t>
            </a:r>
            <a:r>
              <a:rPr lang="en-US" sz="1400" b="0" dirty="0" err="1"/>
              <a:t>tRCD</a:t>
            </a:r>
            <a:r>
              <a:rPr lang="en-US" sz="1400" b="0" dirty="0"/>
              <a:t> + </a:t>
            </a:r>
            <a:r>
              <a:rPr lang="en-US" sz="1400" b="0" dirty="0" err="1"/>
              <a:t>tCL</a:t>
            </a:r>
            <a:r>
              <a:rPr lang="en-US" sz="1400" b="0" dirty="0"/>
              <a:t> (see </a:t>
            </a:r>
            <a:r>
              <a:rPr lang="en-US" sz="1400" b="0" dirty="0" err="1"/>
              <a:t>tRAS</a:t>
            </a:r>
            <a:r>
              <a:rPr lang="en-US" sz="1400" b="0" dirty="0"/>
              <a:t>)</a:t>
            </a:r>
          </a:p>
          <a:p>
            <a:pPr>
              <a:spcBef>
                <a:spcPts val="0"/>
              </a:spcBef>
            </a:pPr>
            <a:r>
              <a:rPr lang="en-US" sz="1400" b="0" dirty="0" err="1"/>
              <a:t>tRP</a:t>
            </a:r>
            <a:r>
              <a:rPr lang="en-US" sz="1400" b="0" dirty="0"/>
              <a:t> (</a:t>
            </a:r>
            <a:r>
              <a:rPr lang="en-US" sz="1400" b="0" u="sng" dirty="0"/>
              <a:t>R</a:t>
            </a:r>
            <a:r>
              <a:rPr lang="en-US" sz="1400" b="0" dirty="0"/>
              <a:t>AS </a:t>
            </a:r>
            <a:r>
              <a:rPr lang="en-US" sz="1400" b="0" u="sng" dirty="0" err="1"/>
              <a:t>P</a:t>
            </a:r>
            <a:r>
              <a:rPr lang="en-US" sz="1400" b="0" dirty="0" err="1"/>
              <a:t>recharge</a:t>
            </a:r>
            <a:r>
              <a:rPr lang="en-US" sz="1400" b="0" dirty="0"/>
              <a:t>): </a:t>
            </a:r>
            <a:r>
              <a:rPr lang="en-US" sz="1400" b="0" dirty="0">
                <a:solidFill>
                  <a:srgbClr val="7030A0"/>
                </a:solidFill>
              </a:rPr>
              <a:t>4 – </a:t>
            </a:r>
            <a:r>
              <a:rPr lang="en-US" sz="1400" b="0" dirty="0"/>
              <a:t>Time to enable a row from another (disabling).</a:t>
            </a:r>
            <a:br>
              <a:rPr lang="en-US" sz="1400" b="0" dirty="0"/>
            </a:br>
            <a:r>
              <a:rPr lang="en-US" sz="1400" b="0" dirty="0"/>
              <a:t>The new row can be accessed only after </a:t>
            </a:r>
            <a:r>
              <a:rPr lang="en-US" sz="1400" b="0" dirty="0" err="1"/>
              <a:t>precharging</a:t>
            </a:r>
            <a:r>
              <a:rPr lang="en-US" sz="1400" b="0" dirty="0"/>
              <a:t> the columns. Therefore, the overall time get data from new row is </a:t>
            </a:r>
            <a:r>
              <a:rPr lang="en-US" sz="1400" b="0" dirty="0" err="1"/>
              <a:t>tRP</a:t>
            </a:r>
            <a:r>
              <a:rPr lang="en-US" sz="1400" b="0" dirty="0"/>
              <a:t> + </a:t>
            </a:r>
            <a:r>
              <a:rPr lang="en-US" sz="1400" b="0" dirty="0" err="1"/>
              <a:t>tRCD</a:t>
            </a:r>
            <a:r>
              <a:rPr lang="en-US" sz="1400" b="0" dirty="0"/>
              <a:t> +</a:t>
            </a:r>
            <a:r>
              <a:rPr lang="en-US" sz="1400" b="0" dirty="0" err="1"/>
              <a:t>tCL</a:t>
            </a:r>
            <a:r>
              <a:rPr lang="en-US" sz="1400" b="0" dirty="0"/>
              <a:t>.</a:t>
            </a:r>
          </a:p>
          <a:p>
            <a:pPr>
              <a:spcBef>
                <a:spcPts val="0"/>
              </a:spcBef>
            </a:pPr>
            <a:r>
              <a:rPr lang="en-US" sz="1400" b="0" dirty="0" err="1"/>
              <a:t>tRAS</a:t>
            </a:r>
            <a:r>
              <a:rPr lang="en-US" sz="1400" b="0" dirty="0"/>
              <a:t> (Time to RAS) : 1~5 – Activate to </a:t>
            </a:r>
            <a:r>
              <a:rPr lang="en-US" sz="1400" b="0" dirty="0" err="1"/>
              <a:t>Precharge</a:t>
            </a:r>
            <a:r>
              <a:rPr lang="en-US" sz="1400" b="0" dirty="0"/>
              <a:t> Delay. Wait-time to access next row before </a:t>
            </a:r>
            <a:r>
              <a:rPr lang="en-US" sz="1400" b="0" dirty="0" err="1"/>
              <a:t>tRCD</a:t>
            </a:r>
            <a:r>
              <a:rPr lang="en-US" sz="1400" b="0" dirty="0"/>
              <a:t> + </a:t>
            </a:r>
            <a:r>
              <a:rPr lang="en-US" sz="1400" b="0" dirty="0" err="1"/>
              <a:t>tCL</a:t>
            </a:r>
            <a:r>
              <a:rPr lang="en-US" sz="1400" b="0" dirty="0"/>
              <a:t> + n </a:t>
            </a:r>
            <a:r>
              <a:rPr lang="en-US" sz="1400" b="0" dirty="0" err="1"/>
              <a:t>cylces</a:t>
            </a:r>
            <a:endParaRPr lang="en-US" sz="1400" b="0" dirty="0"/>
          </a:p>
          <a:p>
            <a:pPr>
              <a:spcBef>
                <a:spcPts val="0"/>
              </a:spcBef>
            </a:pPr>
            <a:r>
              <a:rPr lang="en-US" sz="1400" b="0" dirty="0"/>
              <a:t>CMD: Command Rate. Cycle count from activated to the first command, typically 1-2 cycles</a:t>
            </a:r>
          </a:p>
        </p:txBody>
      </p:sp>
      <p:pic>
        <p:nvPicPr>
          <p:cNvPr id="7" name="Picture 6">
            <a:extLst>
              <a:ext uri="{FF2B5EF4-FFF2-40B4-BE49-F238E27FC236}">
                <a16:creationId xmlns:a16="http://schemas.microsoft.com/office/drawing/2014/main" id="{137F2ED4-9535-D5BB-BC1D-AB4BEA317690}"/>
              </a:ext>
            </a:extLst>
          </p:cNvPr>
          <p:cNvPicPr>
            <a:picLocks noChangeAspect="1"/>
          </p:cNvPicPr>
          <p:nvPr/>
        </p:nvPicPr>
        <p:blipFill>
          <a:blip r:embed="rId2"/>
          <a:stretch>
            <a:fillRect/>
          </a:stretch>
        </p:blipFill>
        <p:spPr>
          <a:xfrm>
            <a:off x="914400" y="1361948"/>
            <a:ext cx="2510890" cy="2497354"/>
          </a:xfrm>
          <a:prstGeom prst="rect">
            <a:avLst/>
          </a:prstGeom>
        </p:spPr>
      </p:pic>
      <p:graphicFrame>
        <p:nvGraphicFramePr>
          <p:cNvPr id="9" name="Table 8">
            <a:extLst>
              <a:ext uri="{FF2B5EF4-FFF2-40B4-BE49-F238E27FC236}">
                <a16:creationId xmlns:a16="http://schemas.microsoft.com/office/drawing/2014/main" id="{5093158D-8141-458F-1723-42082F7F537C}"/>
              </a:ext>
            </a:extLst>
          </p:cNvPr>
          <p:cNvGraphicFramePr>
            <a:graphicFrameLocks noGrp="1"/>
          </p:cNvGraphicFramePr>
          <p:nvPr>
            <p:extLst>
              <p:ext uri="{D42A27DB-BD31-4B8C-83A1-F6EECF244321}">
                <p14:modId xmlns:p14="http://schemas.microsoft.com/office/powerpoint/2010/main" val="1156496557"/>
              </p:ext>
            </p:extLst>
          </p:nvPr>
        </p:nvGraphicFramePr>
        <p:xfrm>
          <a:off x="3965608" y="713219"/>
          <a:ext cx="7594334" cy="2962656"/>
        </p:xfrm>
        <a:graphic>
          <a:graphicData uri="http://schemas.openxmlformats.org/drawingml/2006/table">
            <a:tbl>
              <a:tblPr firstRow="1" bandRow="1">
                <a:tableStyleId>{21E4AEA4-8DFA-4A89-87EB-49C32662AFE0}</a:tableStyleId>
              </a:tblPr>
              <a:tblGrid>
                <a:gridCol w="2549923">
                  <a:extLst>
                    <a:ext uri="{9D8B030D-6E8A-4147-A177-3AD203B41FA5}">
                      <a16:colId xmlns:a16="http://schemas.microsoft.com/office/drawing/2014/main" val="822736201"/>
                    </a:ext>
                  </a:extLst>
                </a:gridCol>
                <a:gridCol w="972512">
                  <a:extLst>
                    <a:ext uri="{9D8B030D-6E8A-4147-A177-3AD203B41FA5}">
                      <a16:colId xmlns:a16="http://schemas.microsoft.com/office/drawing/2014/main" val="3992617231"/>
                    </a:ext>
                  </a:extLst>
                </a:gridCol>
                <a:gridCol w="1390777">
                  <a:extLst>
                    <a:ext uri="{9D8B030D-6E8A-4147-A177-3AD203B41FA5}">
                      <a16:colId xmlns:a16="http://schemas.microsoft.com/office/drawing/2014/main" val="2916033322"/>
                    </a:ext>
                  </a:extLst>
                </a:gridCol>
                <a:gridCol w="906196">
                  <a:extLst>
                    <a:ext uri="{9D8B030D-6E8A-4147-A177-3AD203B41FA5}">
                      <a16:colId xmlns:a16="http://schemas.microsoft.com/office/drawing/2014/main" val="902570708"/>
                    </a:ext>
                  </a:extLst>
                </a:gridCol>
                <a:gridCol w="882670">
                  <a:extLst>
                    <a:ext uri="{9D8B030D-6E8A-4147-A177-3AD203B41FA5}">
                      <a16:colId xmlns:a16="http://schemas.microsoft.com/office/drawing/2014/main" val="4036006801"/>
                    </a:ext>
                  </a:extLst>
                </a:gridCol>
                <a:gridCol w="892256">
                  <a:extLst>
                    <a:ext uri="{9D8B030D-6E8A-4147-A177-3AD203B41FA5}">
                      <a16:colId xmlns:a16="http://schemas.microsoft.com/office/drawing/2014/main" val="3304897074"/>
                    </a:ext>
                  </a:extLst>
                </a:gridCol>
              </a:tblGrid>
              <a:tr h="187960">
                <a:tc>
                  <a:txBody>
                    <a:bodyPr/>
                    <a:lstStyle/>
                    <a:p>
                      <a:pPr algn="r"/>
                      <a:r>
                        <a:rPr lang="en-US" sz="1200"/>
                        <a:t>Parts</a:t>
                      </a:r>
                    </a:p>
                  </a:txBody>
                  <a:tcPr marL="36576" marR="36576" marT="18288" marB="18288" anchor="ctr"/>
                </a:tc>
                <a:tc>
                  <a:txBody>
                    <a:bodyPr/>
                    <a:lstStyle/>
                    <a:p>
                      <a:pPr algn="ctr"/>
                      <a:r>
                        <a:rPr lang="en-US" sz="1200"/>
                        <a:t>SEC LP5</a:t>
                      </a:r>
                    </a:p>
                    <a:p>
                      <a:pPr marL="0" marR="0" lvl="0" indent="0" algn="ctr" defTabSz="1108070" rtl="0" eaLnBrk="1" fontAlgn="auto" latinLnBrk="0" hangingPunct="1">
                        <a:lnSpc>
                          <a:spcPct val="100000"/>
                        </a:lnSpc>
                        <a:spcBef>
                          <a:spcPts val="0"/>
                        </a:spcBef>
                        <a:spcAft>
                          <a:spcPts val="0"/>
                        </a:spcAft>
                        <a:buClrTx/>
                        <a:buSzTx/>
                        <a:buFontTx/>
                        <a:buNone/>
                        <a:tabLst/>
                        <a:defRPr/>
                      </a:pPr>
                      <a:r>
                        <a:rPr lang="en-US" sz="1200"/>
                        <a:t>6400</a:t>
                      </a:r>
                    </a:p>
                  </a:txBody>
                  <a:tcPr marL="36576" marR="36576" marT="18288" marB="18288" anchor="ctr"/>
                </a:tc>
                <a:tc>
                  <a:txBody>
                    <a:bodyPr/>
                    <a:lstStyle/>
                    <a:p>
                      <a:pPr algn="ctr"/>
                      <a:r>
                        <a:rPr lang="en-US" sz="1200"/>
                        <a:t>MU DDR5 8800AN</a:t>
                      </a:r>
                    </a:p>
                  </a:txBody>
                  <a:tcPr marL="36576" marR="36576" marT="18288" marB="18288" anchor="ctr"/>
                </a:tc>
                <a:tc>
                  <a:txBody>
                    <a:bodyPr/>
                    <a:lstStyle/>
                    <a:p>
                      <a:pPr algn="ctr"/>
                      <a:r>
                        <a:rPr lang="en-US" sz="1200"/>
                        <a:t>HBM3</a:t>
                      </a:r>
                    </a:p>
                    <a:p>
                      <a:pPr algn="ctr"/>
                      <a:r>
                        <a:rPr lang="en-US" sz="1200"/>
                        <a:t>JESD238</a:t>
                      </a:r>
                    </a:p>
                  </a:txBody>
                  <a:tcPr marL="36576" marR="36576" marT="18288" marB="18288" anchor="ctr"/>
                </a:tc>
                <a:tc>
                  <a:txBody>
                    <a:bodyPr/>
                    <a:lstStyle/>
                    <a:p>
                      <a:pPr algn="ctr"/>
                      <a:r>
                        <a:rPr lang="en-US" sz="1200" dirty="0"/>
                        <a:t>APM </a:t>
                      </a:r>
                    </a:p>
                    <a:p>
                      <a:pPr algn="ctr"/>
                      <a:r>
                        <a:rPr lang="en-US" sz="1200" dirty="0"/>
                        <a:t>VHM</a:t>
                      </a:r>
                    </a:p>
                  </a:txBody>
                  <a:tcPr marL="36576" marR="36576" marT="18288" marB="18288" anchor="ctr"/>
                </a:tc>
                <a:tc>
                  <a:txBody>
                    <a:bodyPr/>
                    <a:lstStyle/>
                    <a:p>
                      <a:pPr algn="ctr"/>
                      <a:r>
                        <a:rPr lang="en-US" sz="1200" dirty="0"/>
                        <a:t>P1271.3 </a:t>
                      </a:r>
                      <a:r>
                        <a:rPr lang="en-US" sz="1200" dirty="0" err="1"/>
                        <a:t>eDRAM</a:t>
                      </a:r>
                      <a:endParaRPr lang="en-US" sz="1200" dirty="0"/>
                    </a:p>
                  </a:txBody>
                  <a:tcPr marL="36576" marR="36576" marT="18288" marB="18288" anchor="ctr"/>
                </a:tc>
                <a:extLst>
                  <a:ext uri="{0D108BD9-81ED-4DB2-BD59-A6C34878D82A}">
                    <a16:rowId xmlns:a16="http://schemas.microsoft.com/office/drawing/2014/main" val="627460601"/>
                  </a:ext>
                </a:extLst>
              </a:tr>
              <a:tr h="66675">
                <a:tc>
                  <a:txBody>
                    <a:bodyPr/>
                    <a:lstStyle/>
                    <a:p>
                      <a:pPr algn="r"/>
                      <a:r>
                        <a:rPr lang="en-US" sz="1200"/>
                        <a:t>Timing codes</a:t>
                      </a:r>
                    </a:p>
                  </a:txBody>
                  <a:tcPr marL="36576" marR="36576" marT="18288" marB="18288" anchor="ctr"/>
                </a:tc>
                <a:tc>
                  <a:txBody>
                    <a:bodyPr/>
                    <a:lstStyle/>
                    <a:p>
                      <a:pPr algn="ctr"/>
                      <a:r>
                        <a:rPr lang="en-US" sz="1200"/>
                        <a:t>58-58-58</a:t>
                      </a:r>
                    </a:p>
                  </a:txBody>
                  <a:tcPr marL="36576" marR="36576" marT="18288" marB="18288" anchor="ctr"/>
                </a:tc>
                <a:tc>
                  <a:txBody>
                    <a:bodyPr/>
                    <a:lstStyle/>
                    <a:p>
                      <a:pPr algn="ctr"/>
                      <a:r>
                        <a:rPr lang="en-US" sz="1200"/>
                        <a:t>62-62-62-141-1</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dirty="0"/>
                    </a:p>
                  </a:txBody>
                  <a:tcPr marL="36576" marR="36576" marT="18288" marB="18288" anchor="ctr"/>
                </a:tc>
                <a:extLst>
                  <a:ext uri="{0D108BD9-81ED-4DB2-BD59-A6C34878D82A}">
                    <a16:rowId xmlns:a16="http://schemas.microsoft.com/office/drawing/2014/main" val="3424861271"/>
                  </a:ext>
                </a:extLst>
              </a:tr>
              <a:tr h="66675">
                <a:tc>
                  <a:txBody>
                    <a:bodyPr/>
                    <a:lstStyle/>
                    <a:p>
                      <a:pPr algn="r"/>
                      <a:r>
                        <a:rPr lang="en-US" sz="1200"/>
                        <a:t>Bus Freq in GHz / Data Rate</a:t>
                      </a:r>
                    </a:p>
                  </a:txBody>
                  <a:tcPr marL="36576" marR="36576" marT="18288" marB="18288" anchor="ctr"/>
                </a:tc>
                <a:tc>
                  <a:txBody>
                    <a:bodyPr/>
                    <a:lstStyle/>
                    <a:p>
                      <a:pPr algn="ctr"/>
                      <a:r>
                        <a:rPr lang="en-US" sz="1200"/>
                        <a:t>3.2 / DDR</a:t>
                      </a:r>
                    </a:p>
                  </a:txBody>
                  <a:tcPr marL="36576" marR="36576" marT="18288" marB="18288" anchor="ctr"/>
                </a:tc>
                <a:tc>
                  <a:txBody>
                    <a:bodyPr/>
                    <a:lstStyle/>
                    <a:p>
                      <a:pPr algn="ctr"/>
                      <a:r>
                        <a:rPr lang="en-US" sz="1200"/>
                        <a:t>4.4 / DDR</a:t>
                      </a:r>
                    </a:p>
                  </a:txBody>
                  <a:tcPr marL="36576" marR="36576" marT="18288" marB="18288" anchor="ctr"/>
                </a:tc>
                <a:tc>
                  <a:txBody>
                    <a:bodyPr/>
                    <a:lstStyle/>
                    <a:p>
                      <a:pPr algn="ctr"/>
                      <a:endParaRPr lang="en-US" sz="1200"/>
                    </a:p>
                  </a:txBody>
                  <a:tcPr marL="36576" marR="36576" marT="18288" marB="18288" anchor="ctr"/>
                </a:tc>
                <a:tc>
                  <a:txBody>
                    <a:bodyPr/>
                    <a:lstStyle/>
                    <a:p>
                      <a:pPr algn="ctr"/>
                      <a:r>
                        <a:rPr lang="en-US" sz="1200"/>
                        <a:t>0.5 / SDR</a:t>
                      </a:r>
                    </a:p>
                  </a:txBody>
                  <a:tcPr marL="36576" marR="36576" marT="18288" marB="18288" anchor="ctr"/>
                </a:tc>
                <a:tc>
                  <a:txBody>
                    <a:bodyPr/>
                    <a:lstStyle/>
                    <a:p>
                      <a:pPr algn="ctr"/>
                      <a:endParaRPr lang="en-US" sz="1200" dirty="0"/>
                    </a:p>
                  </a:txBody>
                  <a:tcPr marL="36576" marR="36576" marT="18288" marB="18288" anchor="ctr"/>
                </a:tc>
                <a:extLst>
                  <a:ext uri="{0D108BD9-81ED-4DB2-BD59-A6C34878D82A}">
                    <a16:rowId xmlns:a16="http://schemas.microsoft.com/office/drawing/2014/main" val="2122685919"/>
                  </a:ext>
                </a:extLst>
              </a:tr>
              <a:tr h="66675">
                <a:tc>
                  <a:txBody>
                    <a:bodyPr/>
                    <a:lstStyle/>
                    <a:p>
                      <a:pPr algn="r"/>
                      <a:r>
                        <a:rPr lang="en-US" sz="1200" err="1"/>
                        <a:t>tCL</a:t>
                      </a:r>
                      <a:r>
                        <a:rPr lang="en-US" sz="1200"/>
                        <a:t> (ns)</a:t>
                      </a:r>
                    </a:p>
                  </a:txBody>
                  <a:tcPr marL="36576" marR="36576" marT="18288" marB="18288" anchor="ctr"/>
                </a:tc>
                <a:tc>
                  <a:txBody>
                    <a:bodyPr/>
                    <a:lstStyle/>
                    <a:p>
                      <a:pPr algn="ctr"/>
                      <a:r>
                        <a:rPr lang="en-US" sz="1200"/>
                        <a:t>18.13</a:t>
                      </a:r>
                    </a:p>
                  </a:txBody>
                  <a:tcPr marL="36576" marR="36576" marT="18288" marB="18288" anchor="ctr"/>
                </a:tc>
                <a:tc>
                  <a:txBody>
                    <a:bodyPr/>
                    <a:lstStyle/>
                    <a:p>
                      <a:pPr algn="ctr"/>
                      <a:r>
                        <a:rPr lang="en-US" sz="1200"/>
                        <a:t>14.09</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dirty="0"/>
                    </a:p>
                  </a:txBody>
                  <a:tcPr marL="36576" marR="36576" marT="18288" marB="18288" anchor="ctr"/>
                </a:tc>
                <a:extLst>
                  <a:ext uri="{0D108BD9-81ED-4DB2-BD59-A6C34878D82A}">
                    <a16:rowId xmlns:a16="http://schemas.microsoft.com/office/drawing/2014/main" val="3132008843"/>
                  </a:ext>
                </a:extLst>
              </a:tr>
              <a:tr h="66675">
                <a:tc>
                  <a:txBody>
                    <a:bodyPr/>
                    <a:lstStyle/>
                    <a:p>
                      <a:pPr algn="r"/>
                      <a:r>
                        <a:rPr lang="en-US" sz="1200" err="1"/>
                        <a:t>tRCD</a:t>
                      </a:r>
                      <a:r>
                        <a:rPr lang="en-US" sz="1200"/>
                        <a:t>[ns]</a:t>
                      </a:r>
                    </a:p>
                  </a:txBody>
                  <a:tcPr marL="36576" marR="36576" marT="18288" marB="18288" anchor="ctr"/>
                </a:tc>
                <a:tc>
                  <a:txBody>
                    <a:bodyPr/>
                    <a:lstStyle/>
                    <a:p>
                      <a:pPr marL="0" marR="0" lvl="0" indent="0" algn="ctr" defTabSz="11080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18.13</a:t>
                      </a:r>
                    </a:p>
                  </a:txBody>
                  <a:tcPr marL="36576" marR="36576" marT="18288" marB="18288" anchor="ctr"/>
                </a:tc>
                <a:tc>
                  <a:txBody>
                    <a:bodyPr/>
                    <a:lstStyle/>
                    <a:p>
                      <a:pPr algn="ctr"/>
                      <a:r>
                        <a:rPr lang="en-US" sz="1200"/>
                        <a:t>14.09</a:t>
                      </a:r>
                    </a:p>
                  </a:txBody>
                  <a:tcPr marL="36576" marR="36576" marT="18288" marB="18288" anchor="ctr"/>
                </a:tc>
                <a:tc>
                  <a:txBody>
                    <a:bodyPr/>
                    <a:lstStyle/>
                    <a:p>
                      <a:pPr algn="ctr"/>
                      <a:endParaRPr lang="en-US" sz="1200"/>
                    </a:p>
                  </a:txBody>
                  <a:tcPr marL="36576" marR="36576" marT="18288" marB="18288" anchor="ctr"/>
                </a:tc>
                <a:tc>
                  <a:txBody>
                    <a:bodyPr/>
                    <a:lstStyle/>
                    <a:p>
                      <a:pPr algn="ctr"/>
                      <a:r>
                        <a:rPr lang="en-US" sz="1200"/>
                        <a:t>12</a:t>
                      </a:r>
                    </a:p>
                  </a:txBody>
                  <a:tcPr marL="36576" marR="36576" marT="18288" marB="18288" anchor="ctr"/>
                </a:tc>
                <a:tc>
                  <a:txBody>
                    <a:bodyPr/>
                    <a:lstStyle/>
                    <a:p>
                      <a:pPr algn="ctr"/>
                      <a:endParaRPr lang="en-US" sz="1200" dirty="0"/>
                    </a:p>
                  </a:txBody>
                  <a:tcPr marL="36576" marR="36576" marT="18288" marB="18288" anchor="ctr"/>
                </a:tc>
                <a:extLst>
                  <a:ext uri="{0D108BD9-81ED-4DB2-BD59-A6C34878D82A}">
                    <a16:rowId xmlns:a16="http://schemas.microsoft.com/office/drawing/2014/main" val="538553473"/>
                  </a:ext>
                </a:extLst>
              </a:tr>
              <a:tr h="66675">
                <a:tc>
                  <a:txBody>
                    <a:bodyPr/>
                    <a:lstStyle/>
                    <a:p>
                      <a:pPr algn="r"/>
                      <a:r>
                        <a:rPr lang="en-US" sz="1200" err="1"/>
                        <a:t>tRP</a:t>
                      </a:r>
                      <a:r>
                        <a:rPr lang="en-US" sz="1200"/>
                        <a:t>[ns]</a:t>
                      </a:r>
                    </a:p>
                  </a:txBody>
                  <a:tcPr marL="36576" marR="36576" marT="18288" marB="18288" anchor="ctr"/>
                </a:tc>
                <a:tc>
                  <a:txBody>
                    <a:bodyPr/>
                    <a:lstStyle/>
                    <a:p>
                      <a:pPr marL="0" marR="0" lvl="0" indent="0" algn="ctr" defTabSz="11080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18.13</a:t>
                      </a:r>
                    </a:p>
                  </a:txBody>
                  <a:tcPr marL="36576" marR="36576" marT="18288" marB="18288" anchor="ctr"/>
                </a:tc>
                <a:tc>
                  <a:txBody>
                    <a:bodyPr/>
                    <a:lstStyle/>
                    <a:p>
                      <a:pPr algn="ctr"/>
                      <a:r>
                        <a:rPr lang="en-US" sz="1200"/>
                        <a:t>14.09</a:t>
                      </a:r>
                    </a:p>
                  </a:txBody>
                  <a:tcPr marL="36576" marR="36576" marT="18288" marB="18288" anchor="ctr"/>
                </a:tc>
                <a:tc>
                  <a:txBody>
                    <a:bodyPr/>
                    <a:lstStyle/>
                    <a:p>
                      <a:pPr algn="ctr"/>
                      <a:r>
                        <a:rPr lang="en-US" sz="1200"/>
                        <a:t>15</a:t>
                      </a:r>
                    </a:p>
                  </a:txBody>
                  <a:tcPr marL="36576" marR="36576" marT="18288" marB="18288" anchor="ctr"/>
                </a:tc>
                <a:tc>
                  <a:txBody>
                    <a:bodyPr/>
                    <a:lstStyle/>
                    <a:p>
                      <a:pPr algn="ctr"/>
                      <a:r>
                        <a:rPr lang="en-US" sz="1200"/>
                        <a:t>12</a:t>
                      </a:r>
                    </a:p>
                  </a:txBody>
                  <a:tcPr marL="36576" marR="36576" marT="18288" marB="18288" anchor="ctr"/>
                </a:tc>
                <a:tc>
                  <a:txBody>
                    <a:bodyPr/>
                    <a:lstStyle/>
                    <a:p>
                      <a:pPr algn="ctr"/>
                      <a:endParaRPr lang="en-US" sz="1200" dirty="0"/>
                    </a:p>
                  </a:txBody>
                  <a:tcPr marL="36576" marR="36576" marT="18288" marB="18288" anchor="ctr"/>
                </a:tc>
                <a:extLst>
                  <a:ext uri="{0D108BD9-81ED-4DB2-BD59-A6C34878D82A}">
                    <a16:rowId xmlns:a16="http://schemas.microsoft.com/office/drawing/2014/main" val="2330304708"/>
                  </a:ext>
                </a:extLst>
              </a:tr>
              <a:tr h="66675">
                <a:tc>
                  <a:txBody>
                    <a:bodyPr/>
                    <a:lstStyle/>
                    <a:p>
                      <a:pPr algn="r"/>
                      <a:r>
                        <a:rPr lang="en-US" sz="1200" err="1"/>
                        <a:t>tRAS</a:t>
                      </a:r>
                      <a:r>
                        <a:rPr lang="en-US" sz="1200"/>
                        <a:t>[ns]</a:t>
                      </a:r>
                    </a:p>
                  </a:txBody>
                  <a:tcPr marL="36576" marR="36576" marT="18288" marB="18288" anchor="ctr"/>
                </a:tc>
                <a:tc>
                  <a:txBody>
                    <a:bodyPr/>
                    <a:lstStyle/>
                    <a:p>
                      <a:pPr algn="ctr"/>
                      <a:r>
                        <a:rPr lang="en-US" sz="1200"/>
                        <a:t>42</a:t>
                      </a:r>
                    </a:p>
                  </a:txBody>
                  <a:tcPr marL="36576" marR="36576" marT="18288" marB="18288" anchor="ctr"/>
                </a:tc>
                <a:tc>
                  <a:txBody>
                    <a:bodyPr/>
                    <a:lstStyle/>
                    <a:p>
                      <a:pPr algn="ctr"/>
                      <a:r>
                        <a:rPr lang="en-US" sz="1200"/>
                        <a:t>32</a:t>
                      </a:r>
                    </a:p>
                  </a:txBody>
                  <a:tcPr marL="36576" marR="36576" marT="18288" marB="18288" anchor="ctr"/>
                </a:tc>
                <a:tc>
                  <a:txBody>
                    <a:bodyPr/>
                    <a:lstStyle/>
                    <a:p>
                      <a:pPr algn="ctr"/>
                      <a:r>
                        <a:rPr lang="en-US" sz="1200"/>
                        <a:t>33</a:t>
                      </a:r>
                    </a:p>
                  </a:txBody>
                  <a:tcPr marL="36576" marR="36576" marT="18288" marB="18288" anchor="ctr"/>
                </a:tc>
                <a:tc>
                  <a:txBody>
                    <a:bodyPr/>
                    <a:lstStyle/>
                    <a:p>
                      <a:pPr algn="ctr"/>
                      <a:r>
                        <a:rPr lang="en-US" sz="1200"/>
                        <a:t>13</a:t>
                      </a:r>
                    </a:p>
                  </a:txBody>
                  <a:tcPr marL="36576" marR="36576" marT="18288" marB="18288" anchor="ctr"/>
                </a:tc>
                <a:tc>
                  <a:txBody>
                    <a:bodyPr/>
                    <a:lstStyle/>
                    <a:p>
                      <a:pPr algn="ctr"/>
                      <a:endParaRPr lang="en-US" sz="1200" dirty="0"/>
                    </a:p>
                  </a:txBody>
                  <a:tcPr marL="36576" marR="36576" marT="18288" marB="18288" anchor="ctr"/>
                </a:tc>
                <a:extLst>
                  <a:ext uri="{0D108BD9-81ED-4DB2-BD59-A6C34878D82A}">
                    <a16:rowId xmlns:a16="http://schemas.microsoft.com/office/drawing/2014/main" val="2143632227"/>
                  </a:ext>
                </a:extLst>
              </a:tr>
              <a:tr h="66675">
                <a:tc>
                  <a:txBody>
                    <a:bodyPr/>
                    <a:lstStyle/>
                    <a:p>
                      <a:pPr algn="r"/>
                      <a:r>
                        <a:rPr lang="en-US" sz="1200"/>
                        <a:t>CMD[ns]</a:t>
                      </a:r>
                    </a:p>
                  </a:txBody>
                  <a:tcPr marL="36576" marR="36576" marT="18288" marB="18288" anchor="ctr"/>
                </a:tc>
                <a:tc>
                  <a:txBody>
                    <a:bodyPr/>
                    <a:lstStyle/>
                    <a:p>
                      <a:pPr algn="ctr"/>
                      <a:r>
                        <a:rPr lang="en-US" sz="1200"/>
                        <a:t>1</a:t>
                      </a:r>
                    </a:p>
                  </a:txBody>
                  <a:tcPr marL="36576" marR="36576" marT="18288" marB="18288" anchor="ctr"/>
                </a:tc>
                <a:tc>
                  <a:txBody>
                    <a:bodyPr/>
                    <a:lstStyle/>
                    <a:p>
                      <a:pPr algn="ctr"/>
                      <a:r>
                        <a:rPr lang="en-US" sz="1200"/>
                        <a:t>1</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dirty="0"/>
                    </a:p>
                  </a:txBody>
                  <a:tcPr marL="36576" marR="36576" marT="18288" marB="18288" anchor="ctr"/>
                </a:tc>
                <a:extLst>
                  <a:ext uri="{0D108BD9-81ED-4DB2-BD59-A6C34878D82A}">
                    <a16:rowId xmlns:a16="http://schemas.microsoft.com/office/drawing/2014/main" val="64970049"/>
                  </a:ext>
                </a:extLst>
              </a:tr>
              <a:tr h="66675">
                <a:tc>
                  <a:txBody>
                    <a:bodyPr/>
                    <a:lstStyle/>
                    <a:p>
                      <a:pPr algn="r"/>
                      <a:r>
                        <a:rPr lang="en-US" sz="1200"/>
                        <a:t>Access cross bank </a:t>
                      </a:r>
                      <a:r>
                        <a:rPr lang="en-US" sz="1200" err="1"/>
                        <a:t>tCCD</a:t>
                      </a:r>
                      <a:r>
                        <a:rPr lang="en-US" sz="1200"/>
                        <a:t>[ns]</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r>
                        <a:rPr lang="en-US" sz="1200"/>
                        <a:t>2(S), 4(L) </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dirty="0"/>
                    </a:p>
                  </a:txBody>
                  <a:tcPr marL="36576" marR="36576" marT="18288" marB="18288" anchor="ctr"/>
                </a:tc>
                <a:extLst>
                  <a:ext uri="{0D108BD9-81ED-4DB2-BD59-A6C34878D82A}">
                    <a16:rowId xmlns:a16="http://schemas.microsoft.com/office/drawing/2014/main" val="1394306153"/>
                  </a:ext>
                </a:extLst>
              </a:tr>
              <a:tr h="66675">
                <a:tc>
                  <a:txBody>
                    <a:bodyPr/>
                    <a:lstStyle/>
                    <a:p>
                      <a:pPr algn="r"/>
                      <a:r>
                        <a:rPr lang="en-US" sz="1200" dirty="0"/>
                        <a:t>first access from a closed page  </a:t>
                      </a:r>
                      <a:r>
                        <a:rPr lang="en-US" sz="1200" dirty="0" err="1"/>
                        <a:t>tRCD+tCL</a:t>
                      </a:r>
                      <a:r>
                        <a:rPr lang="en-US" sz="1200" dirty="0"/>
                        <a:t> (or </a:t>
                      </a:r>
                      <a:r>
                        <a:rPr lang="en-US" sz="1200" dirty="0" err="1"/>
                        <a:t>tAA</a:t>
                      </a:r>
                      <a:r>
                        <a:rPr lang="en-US" sz="1200" dirty="0"/>
                        <a:t>) [ns]</a:t>
                      </a:r>
                    </a:p>
                  </a:txBody>
                  <a:tcPr marL="36576" marR="36576" marT="18288" marB="18288" anchor="ctr"/>
                </a:tc>
                <a:tc>
                  <a:txBody>
                    <a:bodyPr/>
                    <a:lstStyle/>
                    <a:p>
                      <a:pPr algn="ctr"/>
                      <a:r>
                        <a:rPr lang="en-US" sz="1200"/>
                        <a:t>36.25</a:t>
                      </a:r>
                    </a:p>
                  </a:txBody>
                  <a:tcPr marL="36576" marR="36576" marT="18288" marB="18288" anchor="ctr"/>
                </a:tc>
                <a:tc>
                  <a:txBody>
                    <a:bodyPr/>
                    <a:lstStyle/>
                    <a:p>
                      <a:pPr algn="ctr"/>
                      <a:r>
                        <a:rPr lang="en-US" sz="1200" dirty="0"/>
                        <a:t>28.18</a:t>
                      </a:r>
                    </a:p>
                  </a:txBody>
                  <a:tcPr marL="36576" marR="36576" marT="18288" marB="18288" anchor="ctr"/>
                </a:tc>
                <a:tc>
                  <a:txBody>
                    <a:bodyPr/>
                    <a:lstStyle/>
                    <a:p>
                      <a:pPr algn="ctr"/>
                      <a:r>
                        <a:rPr lang="en-US" sz="1200"/>
                        <a:t>32</a:t>
                      </a:r>
                    </a:p>
                  </a:txBody>
                  <a:tcPr marL="36576" marR="36576" marT="18288" marB="18288" anchor="ctr"/>
                </a:tc>
                <a:tc>
                  <a:txBody>
                    <a:bodyPr/>
                    <a:lstStyle/>
                    <a:p>
                      <a:pPr algn="ctr"/>
                      <a:endParaRPr lang="en-US" sz="1200"/>
                    </a:p>
                  </a:txBody>
                  <a:tcPr marL="36576" marR="36576" marT="18288" marB="18288" anchor="ctr"/>
                </a:tc>
                <a:tc>
                  <a:txBody>
                    <a:bodyPr/>
                    <a:lstStyle/>
                    <a:p>
                      <a:pPr algn="ctr"/>
                      <a:r>
                        <a:rPr lang="en-US" sz="1200" dirty="0"/>
                        <a:t>13</a:t>
                      </a:r>
                    </a:p>
                  </a:txBody>
                  <a:tcPr marL="36576" marR="36576" marT="18288" marB="18288" anchor="ctr"/>
                </a:tc>
                <a:extLst>
                  <a:ext uri="{0D108BD9-81ED-4DB2-BD59-A6C34878D82A}">
                    <a16:rowId xmlns:a16="http://schemas.microsoft.com/office/drawing/2014/main" val="2776629697"/>
                  </a:ext>
                </a:extLst>
              </a:tr>
              <a:tr h="0">
                <a:tc>
                  <a:txBody>
                    <a:bodyPr/>
                    <a:lstStyle/>
                    <a:p>
                      <a:pPr algn="r"/>
                      <a:r>
                        <a:rPr lang="en-US" sz="1200"/>
                        <a:t>Refresh Command or Active to Active: </a:t>
                      </a:r>
                      <a:r>
                        <a:rPr lang="en-US" sz="1200" err="1"/>
                        <a:t>tRC</a:t>
                      </a:r>
                      <a:r>
                        <a:rPr lang="en-US" sz="1200"/>
                        <a:t> = </a:t>
                      </a:r>
                      <a:r>
                        <a:rPr lang="en-US" sz="1200" err="1"/>
                        <a:t>tRP+tRAS</a:t>
                      </a:r>
                      <a:r>
                        <a:rPr lang="en-US" sz="1200"/>
                        <a:t> [ns]</a:t>
                      </a:r>
                    </a:p>
                  </a:txBody>
                  <a:tcPr marL="36576" marR="36576" marT="18288" marB="18288" anchor="ctr"/>
                </a:tc>
                <a:tc>
                  <a:txBody>
                    <a:bodyPr/>
                    <a:lstStyle/>
                    <a:p>
                      <a:pPr algn="ctr"/>
                      <a:r>
                        <a:rPr lang="en-US" sz="1200"/>
                        <a:t>63</a:t>
                      </a:r>
                    </a:p>
                  </a:txBody>
                  <a:tcPr marL="36576" marR="36576" marT="18288" marB="18288" anchor="ctr"/>
                </a:tc>
                <a:tc>
                  <a:txBody>
                    <a:bodyPr/>
                    <a:lstStyle/>
                    <a:p>
                      <a:pPr algn="ctr"/>
                      <a:r>
                        <a:rPr lang="en-US" sz="1200"/>
                        <a:t>46.09</a:t>
                      </a:r>
                    </a:p>
                  </a:txBody>
                  <a:tcPr marL="36576" marR="36576" marT="18288" marB="18288" anchor="ctr"/>
                </a:tc>
                <a:tc>
                  <a:txBody>
                    <a:bodyPr/>
                    <a:lstStyle/>
                    <a:p>
                      <a:pPr marL="0" marR="0" lvl="0" indent="0" algn="ctr" defTabSz="1108070" rtl="0" eaLnBrk="1" fontAlgn="auto" latinLnBrk="0" hangingPunct="1">
                        <a:lnSpc>
                          <a:spcPct val="100000"/>
                        </a:lnSpc>
                        <a:spcBef>
                          <a:spcPts val="0"/>
                        </a:spcBef>
                        <a:spcAft>
                          <a:spcPts val="0"/>
                        </a:spcAft>
                        <a:buClrTx/>
                        <a:buSzTx/>
                        <a:buFontTx/>
                        <a:buNone/>
                        <a:tabLst/>
                        <a:defRPr/>
                      </a:pPr>
                      <a:r>
                        <a:rPr lang="en-US" sz="1200"/>
                        <a:t>48</a:t>
                      </a:r>
                    </a:p>
                  </a:txBody>
                  <a:tcPr marL="36576" marR="36576" marT="18288" marB="18288" anchor="ctr"/>
                </a:tc>
                <a:tc>
                  <a:txBody>
                    <a:bodyPr/>
                    <a:lstStyle/>
                    <a:p>
                      <a:pPr marL="0" marR="0" lvl="0" indent="0" algn="ctr" defTabSz="1108070" rtl="0" eaLnBrk="1" fontAlgn="auto" latinLnBrk="0" hangingPunct="1">
                        <a:lnSpc>
                          <a:spcPct val="100000"/>
                        </a:lnSpc>
                        <a:spcBef>
                          <a:spcPts val="0"/>
                        </a:spcBef>
                        <a:spcAft>
                          <a:spcPts val="0"/>
                        </a:spcAft>
                        <a:buClrTx/>
                        <a:buSzTx/>
                        <a:buFontTx/>
                        <a:buNone/>
                        <a:tabLst/>
                        <a:defRPr/>
                      </a:pPr>
                      <a:r>
                        <a:rPr lang="en-US" sz="1200" dirty="0"/>
                        <a:t>25</a:t>
                      </a:r>
                    </a:p>
                  </a:txBody>
                  <a:tcPr marL="36576" marR="36576" marT="18288" marB="18288" anchor="ctr"/>
                </a:tc>
                <a:tc>
                  <a:txBody>
                    <a:bodyPr/>
                    <a:lstStyle/>
                    <a:p>
                      <a:pPr algn="ctr"/>
                      <a:r>
                        <a:rPr lang="en-US" sz="1200" dirty="0"/>
                        <a:t>3</a:t>
                      </a:r>
                    </a:p>
                  </a:txBody>
                  <a:tcPr marL="36576" marR="36576" marT="18288" marB="18288" anchor="ctr"/>
                </a:tc>
                <a:extLst>
                  <a:ext uri="{0D108BD9-81ED-4DB2-BD59-A6C34878D82A}">
                    <a16:rowId xmlns:a16="http://schemas.microsoft.com/office/drawing/2014/main" val="89122582"/>
                  </a:ext>
                </a:extLst>
              </a:tr>
            </a:tbl>
          </a:graphicData>
        </a:graphic>
      </p:graphicFrame>
      <p:sp>
        <p:nvSpPr>
          <p:cNvPr id="4" name="TextBox 3">
            <a:extLst>
              <a:ext uri="{FF2B5EF4-FFF2-40B4-BE49-F238E27FC236}">
                <a16:creationId xmlns:a16="http://schemas.microsoft.com/office/drawing/2014/main" id="{B89BF2EE-CCA4-7061-E40F-C3456AE8C475}"/>
              </a:ext>
            </a:extLst>
          </p:cNvPr>
          <p:cNvSpPr txBox="1"/>
          <p:nvPr/>
        </p:nvSpPr>
        <p:spPr>
          <a:xfrm>
            <a:off x="2131974" y="6169165"/>
            <a:ext cx="9907626" cy="369332"/>
          </a:xfrm>
          <a:prstGeom prst="rect">
            <a:avLst/>
          </a:prstGeom>
          <a:noFill/>
        </p:spPr>
        <p:txBody>
          <a:bodyPr wrap="square" rtlCol="0">
            <a:spAutoFit/>
          </a:bodyPr>
          <a:lstStyle/>
          <a:p>
            <a:r>
              <a:rPr lang="en-US" sz="900">
                <a:latin typeface="Calibri" panose="020F0502020204030204" pitchFamily="34" charset="0"/>
                <a:cs typeface="Calibri" panose="020F0502020204030204" pitchFamily="34" charset="0"/>
              </a:rPr>
              <a:t>Samsung LLW: Unlike conventional DDR DRAM, LLW DRAM uses a closed-page operation in which precise relationship between RAS and CAS events in known and  single Read or Write commands triggers the whole sequence of events. Therefore, clock gating approach on LLW DRAM design can be optimized to only turn on/off  various circuits and clocks during the precise time they are needed to save power.</a:t>
            </a:r>
          </a:p>
        </p:txBody>
      </p:sp>
      <p:pic>
        <p:nvPicPr>
          <p:cNvPr id="8" name="Picture 7">
            <a:extLst>
              <a:ext uri="{FF2B5EF4-FFF2-40B4-BE49-F238E27FC236}">
                <a16:creationId xmlns:a16="http://schemas.microsoft.com/office/drawing/2014/main" id="{5D41A17E-F0F7-6066-0313-19E25FEBD372}"/>
              </a:ext>
            </a:extLst>
          </p:cNvPr>
          <p:cNvPicPr>
            <a:picLocks noChangeAspect="1"/>
          </p:cNvPicPr>
          <p:nvPr/>
        </p:nvPicPr>
        <p:blipFill>
          <a:blip r:embed="rId3"/>
          <a:stretch>
            <a:fillRect/>
          </a:stretch>
        </p:blipFill>
        <p:spPr>
          <a:xfrm>
            <a:off x="969218" y="3884181"/>
            <a:ext cx="2692400" cy="2260600"/>
          </a:xfrm>
          <a:prstGeom prst="rect">
            <a:avLst/>
          </a:prstGeom>
        </p:spPr>
      </p:pic>
    </p:spTree>
    <p:extLst>
      <p:ext uri="{BB962C8B-B14F-4D97-AF65-F5344CB8AC3E}">
        <p14:creationId xmlns:p14="http://schemas.microsoft.com/office/powerpoint/2010/main" val="29079387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45092-57F0-312A-2474-7EE2B663F769}"/>
              </a:ext>
            </a:extLst>
          </p:cNvPr>
          <p:cNvSpPr>
            <a:spLocks noGrp="1"/>
          </p:cNvSpPr>
          <p:nvPr>
            <p:ph type="title"/>
          </p:nvPr>
        </p:nvSpPr>
        <p:spPr/>
        <p:txBody>
          <a:bodyPr/>
          <a:lstStyle/>
          <a:p>
            <a:r>
              <a:rPr lang="en-US" dirty="0"/>
              <a:t>IPM Metric and Optionality</a:t>
            </a:r>
          </a:p>
        </p:txBody>
      </p:sp>
      <p:sp>
        <p:nvSpPr>
          <p:cNvPr id="3" name="Content Placeholder 2">
            <a:extLst>
              <a:ext uri="{FF2B5EF4-FFF2-40B4-BE49-F238E27FC236}">
                <a16:creationId xmlns:a16="http://schemas.microsoft.com/office/drawing/2014/main" id="{24F655BD-DD18-4EB6-1BFD-B3B06D305A6A}"/>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3775341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659635-E358-1428-4584-32CAACDC4A04}"/>
              </a:ext>
            </a:extLst>
          </p:cNvPr>
          <p:cNvSpPr>
            <a:spLocks noGrp="1"/>
          </p:cNvSpPr>
          <p:nvPr>
            <p:ph type="title"/>
          </p:nvPr>
        </p:nvSpPr>
        <p:spPr/>
        <p:txBody>
          <a:bodyPr/>
          <a:lstStyle/>
          <a:p>
            <a:r>
              <a:rPr lang="en-US"/>
              <a:t>Supporting Materials</a:t>
            </a:r>
          </a:p>
        </p:txBody>
      </p:sp>
      <p:sp>
        <p:nvSpPr>
          <p:cNvPr id="5" name="Text Placeholder 4">
            <a:extLst>
              <a:ext uri="{FF2B5EF4-FFF2-40B4-BE49-F238E27FC236}">
                <a16:creationId xmlns:a16="http://schemas.microsoft.com/office/drawing/2014/main" id="{09029257-5324-BAE2-840F-1BFB4D03650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5743046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10C31E-C960-8F19-A92D-A8E6F3E9D6B0}"/>
              </a:ext>
            </a:extLst>
          </p:cNvPr>
          <p:cNvSpPr>
            <a:spLocks noGrp="1"/>
          </p:cNvSpPr>
          <p:nvPr>
            <p:ph type="title"/>
          </p:nvPr>
        </p:nvSpPr>
        <p:spPr/>
        <p:txBody>
          <a:bodyPr/>
          <a:lstStyle/>
          <a:p>
            <a:r>
              <a:rPr lang="en-US" sz="3200"/>
              <a:t>Data Access: Generic Segmentation for PPA benchmark</a:t>
            </a:r>
          </a:p>
        </p:txBody>
      </p:sp>
      <p:sp>
        <p:nvSpPr>
          <p:cNvPr id="135" name="Content Placeholder 134">
            <a:extLst>
              <a:ext uri="{FF2B5EF4-FFF2-40B4-BE49-F238E27FC236}">
                <a16:creationId xmlns:a16="http://schemas.microsoft.com/office/drawing/2014/main" id="{C15C606D-A693-FB8A-2466-CF3BCFE8F859}"/>
              </a:ext>
            </a:extLst>
          </p:cNvPr>
          <p:cNvSpPr>
            <a:spLocks noGrp="1"/>
          </p:cNvSpPr>
          <p:nvPr>
            <p:ph idx="1"/>
          </p:nvPr>
        </p:nvSpPr>
        <p:spPr>
          <a:xfrm>
            <a:off x="7231163" y="1369917"/>
            <a:ext cx="4827483" cy="4268883"/>
          </a:xfrm>
        </p:spPr>
        <p:txBody>
          <a:bodyPr/>
          <a:lstStyle/>
          <a:p>
            <a:pPr marL="0" indent="0">
              <a:buNone/>
            </a:pPr>
            <a:r>
              <a:rPr lang="en-US" sz="3200" dirty="0"/>
              <a:t>Command Transport</a:t>
            </a:r>
          </a:p>
          <a:p>
            <a:pPr marL="0" indent="0">
              <a:buNone/>
            </a:pPr>
            <a:r>
              <a:rPr lang="en-US" sz="3200" dirty="0"/>
              <a:t>Decode</a:t>
            </a:r>
          </a:p>
          <a:p>
            <a:pPr marL="0" indent="0">
              <a:buNone/>
            </a:pPr>
            <a:r>
              <a:rPr lang="en-US" sz="3200" dirty="0"/>
              <a:t>Row Access</a:t>
            </a:r>
          </a:p>
          <a:p>
            <a:pPr marL="0" indent="0">
              <a:buNone/>
            </a:pPr>
            <a:r>
              <a:rPr lang="en-US" sz="3200" dirty="0"/>
              <a:t>Column Access</a:t>
            </a:r>
          </a:p>
          <a:p>
            <a:pPr marL="0" indent="0">
              <a:buNone/>
            </a:pPr>
            <a:r>
              <a:rPr lang="en-US" sz="3200" dirty="0"/>
              <a:t>Data Transport @ Bank</a:t>
            </a:r>
          </a:p>
          <a:p>
            <a:pPr marL="0" indent="0">
              <a:buNone/>
            </a:pPr>
            <a:r>
              <a:rPr lang="en-US" sz="3200" dirty="0"/>
              <a:t>Data Transport @ Channel</a:t>
            </a:r>
          </a:p>
        </p:txBody>
      </p:sp>
      <p:grpSp>
        <p:nvGrpSpPr>
          <p:cNvPr id="126" name="Group 125">
            <a:extLst>
              <a:ext uri="{FF2B5EF4-FFF2-40B4-BE49-F238E27FC236}">
                <a16:creationId xmlns:a16="http://schemas.microsoft.com/office/drawing/2014/main" id="{DDBFF663-C395-D330-5C85-711DCA777E07}"/>
              </a:ext>
            </a:extLst>
          </p:cNvPr>
          <p:cNvGrpSpPr/>
          <p:nvPr/>
        </p:nvGrpSpPr>
        <p:grpSpPr>
          <a:xfrm>
            <a:off x="1600200" y="1295400"/>
            <a:ext cx="4663288" cy="4575923"/>
            <a:chOff x="2658446" y="1752600"/>
            <a:chExt cx="4663288" cy="4575923"/>
          </a:xfrm>
        </p:grpSpPr>
        <p:sp>
          <p:nvSpPr>
            <p:cNvPr id="5" name="Rectangle 4">
              <a:extLst>
                <a:ext uri="{FF2B5EF4-FFF2-40B4-BE49-F238E27FC236}">
                  <a16:creationId xmlns:a16="http://schemas.microsoft.com/office/drawing/2014/main" id="{00352236-198F-7564-988E-CF5AD59A1A3D}"/>
                </a:ext>
              </a:extLst>
            </p:cNvPr>
            <p:cNvSpPr/>
            <p:nvPr/>
          </p:nvSpPr>
          <p:spPr>
            <a:xfrm rot="16200000">
              <a:off x="2445441" y="3794405"/>
              <a:ext cx="1207060" cy="78105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Control (</a:t>
              </a:r>
              <a:r>
                <a:rPr lang="en-US" err="1">
                  <a:solidFill>
                    <a:schemeClr val="tx1"/>
                  </a:solidFill>
                </a:rPr>
                <a:t>i</a:t>
              </a:r>
              <a:r>
                <a:rPr lang="en-US">
                  <a:solidFill>
                    <a:schemeClr val="tx1"/>
                  </a:solidFill>
                </a:rPr>
                <a:t>/p)</a:t>
              </a:r>
            </a:p>
            <a:p>
              <a:endParaRPr lang="en-US"/>
            </a:p>
          </p:txBody>
        </p:sp>
        <p:sp>
          <p:nvSpPr>
            <p:cNvPr id="6" name="Rectangle 5">
              <a:extLst>
                <a:ext uri="{FF2B5EF4-FFF2-40B4-BE49-F238E27FC236}">
                  <a16:creationId xmlns:a16="http://schemas.microsoft.com/office/drawing/2014/main" id="{09D7E91F-CD4E-75BB-147A-8233DEB113CB}"/>
                </a:ext>
              </a:extLst>
            </p:cNvPr>
            <p:cNvSpPr/>
            <p:nvPr/>
          </p:nvSpPr>
          <p:spPr>
            <a:xfrm>
              <a:off x="2788636" y="5855324"/>
              <a:ext cx="723492" cy="473199"/>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DQ</a:t>
              </a:r>
            </a:p>
            <a:p>
              <a:endParaRPr lang="en-US"/>
            </a:p>
          </p:txBody>
        </p:sp>
        <p:sp>
          <p:nvSpPr>
            <p:cNvPr id="7" name="Rectangle 6">
              <a:extLst>
                <a:ext uri="{FF2B5EF4-FFF2-40B4-BE49-F238E27FC236}">
                  <a16:creationId xmlns:a16="http://schemas.microsoft.com/office/drawing/2014/main" id="{E2A22453-0F07-F54E-A4AA-F341CFD704A6}"/>
                </a:ext>
              </a:extLst>
            </p:cNvPr>
            <p:cNvSpPr/>
            <p:nvPr/>
          </p:nvSpPr>
          <p:spPr>
            <a:xfrm>
              <a:off x="5376582" y="1752600"/>
              <a:ext cx="1938618" cy="1676399"/>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Array</a:t>
              </a:r>
            </a:p>
            <a:p>
              <a:endParaRPr lang="en-US"/>
            </a:p>
          </p:txBody>
        </p:sp>
        <p:sp>
          <p:nvSpPr>
            <p:cNvPr id="8" name="Rectangle 7">
              <a:extLst>
                <a:ext uri="{FF2B5EF4-FFF2-40B4-BE49-F238E27FC236}">
                  <a16:creationId xmlns:a16="http://schemas.microsoft.com/office/drawing/2014/main" id="{0BE4A764-4207-0242-7DFC-3AF5D04AB7D4}"/>
                </a:ext>
              </a:extLst>
            </p:cNvPr>
            <p:cNvSpPr/>
            <p:nvPr/>
          </p:nvSpPr>
          <p:spPr>
            <a:xfrm rot="16200000">
              <a:off x="3810000" y="2362200"/>
              <a:ext cx="1676400" cy="4572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Row Dec</a:t>
              </a:r>
            </a:p>
            <a:p>
              <a:endParaRPr lang="en-US"/>
            </a:p>
          </p:txBody>
        </p:sp>
        <p:sp>
          <p:nvSpPr>
            <p:cNvPr id="9" name="Rectangle 8">
              <a:extLst>
                <a:ext uri="{FF2B5EF4-FFF2-40B4-BE49-F238E27FC236}">
                  <a16:creationId xmlns:a16="http://schemas.microsoft.com/office/drawing/2014/main" id="{D8A0A603-7279-5B7E-85C8-5BDA299E1A2B}"/>
                </a:ext>
              </a:extLst>
            </p:cNvPr>
            <p:cNvSpPr/>
            <p:nvPr/>
          </p:nvSpPr>
          <p:spPr>
            <a:xfrm>
              <a:off x="5376582" y="3962400"/>
              <a:ext cx="1938618" cy="4191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Col Sen/</a:t>
              </a:r>
              <a:r>
                <a:rPr lang="en-US" err="1">
                  <a:solidFill>
                    <a:schemeClr val="tx1"/>
                  </a:solidFill>
                </a:rPr>
                <a:t>Dvr</a:t>
              </a:r>
              <a:endParaRPr lang="en-US">
                <a:solidFill>
                  <a:schemeClr val="tx1"/>
                </a:solidFill>
              </a:endParaRPr>
            </a:p>
            <a:p>
              <a:endParaRPr lang="en-US"/>
            </a:p>
          </p:txBody>
        </p:sp>
        <p:sp>
          <p:nvSpPr>
            <p:cNvPr id="10" name="Rectangle 9">
              <a:extLst>
                <a:ext uri="{FF2B5EF4-FFF2-40B4-BE49-F238E27FC236}">
                  <a16:creationId xmlns:a16="http://schemas.microsoft.com/office/drawing/2014/main" id="{8EF1213A-9771-9DD5-5652-DB1EE377DAFC}"/>
                </a:ext>
              </a:extLst>
            </p:cNvPr>
            <p:cNvSpPr/>
            <p:nvPr/>
          </p:nvSpPr>
          <p:spPr>
            <a:xfrm>
              <a:off x="5376582" y="4897417"/>
              <a:ext cx="1938618" cy="4191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Data / Mux</a:t>
              </a:r>
            </a:p>
            <a:p>
              <a:endParaRPr lang="en-US"/>
            </a:p>
          </p:txBody>
        </p:sp>
        <p:sp>
          <p:nvSpPr>
            <p:cNvPr id="11" name="Rectangle 10">
              <a:extLst>
                <a:ext uri="{FF2B5EF4-FFF2-40B4-BE49-F238E27FC236}">
                  <a16:creationId xmlns:a16="http://schemas.microsoft.com/office/drawing/2014/main" id="{2E225A84-51B3-C9F7-035A-61483DF6309E}"/>
                </a:ext>
              </a:extLst>
            </p:cNvPr>
            <p:cNvSpPr/>
            <p:nvPr/>
          </p:nvSpPr>
          <p:spPr>
            <a:xfrm rot="16200000">
              <a:off x="2406313" y="2200274"/>
              <a:ext cx="1285315" cy="78105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a:solidFill>
                    <a:schemeClr val="tx1"/>
                  </a:solidFill>
                </a:rPr>
                <a:t>Address Register</a:t>
              </a:r>
            </a:p>
            <a:p>
              <a:endParaRPr lang="en-US"/>
            </a:p>
          </p:txBody>
        </p:sp>
        <p:cxnSp>
          <p:nvCxnSpPr>
            <p:cNvPr id="16" name="Elbow Connector 15">
              <a:extLst>
                <a:ext uri="{FF2B5EF4-FFF2-40B4-BE49-F238E27FC236}">
                  <a16:creationId xmlns:a16="http://schemas.microsoft.com/office/drawing/2014/main" id="{D4142A35-0BF7-4B4C-16FB-59785B55120D}"/>
                </a:ext>
              </a:extLst>
            </p:cNvPr>
            <p:cNvCxnSpPr>
              <a:cxnSpLocks/>
              <a:stCxn id="11" idx="2"/>
              <a:endCxn id="9" idx="1"/>
            </p:cNvCxnSpPr>
            <p:nvPr/>
          </p:nvCxnSpPr>
          <p:spPr>
            <a:xfrm>
              <a:off x="3439496" y="2590799"/>
              <a:ext cx="1937086" cy="1581151"/>
            </a:xfrm>
            <a:prstGeom prst="bentConnector3">
              <a:avLst>
                <a:gd name="adj1" fmla="val 24967"/>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D8B066A9-146F-6718-E939-73F618B3CC14}"/>
                </a:ext>
              </a:extLst>
            </p:cNvPr>
            <p:cNvCxnSpPr>
              <a:cxnSpLocks/>
              <a:stCxn id="11" idx="2"/>
              <a:endCxn id="8" idx="0"/>
            </p:cNvCxnSpPr>
            <p:nvPr/>
          </p:nvCxnSpPr>
          <p:spPr>
            <a:xfrm>
              <a:off x="3439496" y="2590799"/>
              <a:ext cx="980104" cy="1"/>
            </a:xfrm>
            <a:prstGeom prst="bentConnector3">
              <a:avLst>
                <a:gd name="adj1" fmla="val 50000"/>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824CCD94-72BC-1276-9D84-F6DAA069FDC2}"/>
                </a:ext>
              </a:extLst>
            </p:cNvPr>
            <p:cNvCxnSpPr>
              <a:cxnSpLocks/>
              <a:stCxn id="5" idx="2"/>
              <a:endCxn id="8" idx="1"/>
            </p:cNvCxnSpPr>
            <p:nvPr/>
          </p:nvCxnSpPr>
          <p:spPr>
            <a:xfrm flipV="1">
              <a:off x="3439496" y="3429000"/>
              <a:ext cx="1208704" cy="755930"/>
            </a:xfrm>
            <a:prstGeom prst="bentConnector2">
              <a:avLst/>
            </a:prstGeom>
            <a:ln w="762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84873547-B864-770A-9D39-87F922AFEFFB}"/>
                </a:ext>
              </a:extLst>
            </p:cNvPr>
            <p:cNvCxnSpPr>
              <a:cxnSpLocks/>
              <a:stCxn id="5" idx="2"/>
              <a:endCxn id="9" idx="1"/>
            </p:cNvCxnSpPr>
            <p:nvPr/>
          </p:nvCxnSpPr>
          <p:spPr>
            <a:xfrm flipV="1">
              <a:off x="3439496" y="4171950"/>
              <a:ext cx="1937086" cy="12980"/>
            </a:xfrm>
            <a:prstGeom prst="bentConnector3">
              <a:avLst>
                <a:gd name="adj1" fmla="val 50000"/>
              </a:avLst>
            </a:prstGeom>
            <a:ln w="762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39E1FC5-4FA2-9668-8075-ABFB9CA852EA}"/>
                </a:ext>
              </a:extLst>
            </p:cNvPr>
            <p:cNvCxnSpPr>
              <a:cxnSpLocks/>
              <a:stCxn id="8" idx="2"/>
            </p:cNvCxnSpPr>
            <p:nvPr/>
          </p:nvCxnSpPr>
          <p:spPr>
            <a:xfrm>
              <a:off x="4876800" y="2590800"/>
              <a:ext cx="2133600"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F356832-EB2E-08E7-AE52-AB5824E30A16}"/>
                </a:ext>
              </a:extLst>
            </p:cNvPr>
            <p:cNvCxnSpPr>
              <a:cxnSpLocks/>
            </p:cNvCxnSpPr>
            <p:nvPr/>
          </p:nvCxnSpPr>
          <p:spPr>
            <a:xfrm>
              <a:off x="5638800" y="2233269"/>
              <a:ext cx="0" cy="1729131"/>
            </a:xfrm>
            <a:prstGeom prst="straightConnector1">
              <a:avLst/>
            </a:prstGeom>
            <a:ln w="76200">
              <a:solidFill>
                <a:srgbClr val="7030A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AC17D8A-12F4-1848-8685-F7685375DE6D}"/>
                </a:ext>
              </a:extLst>
            </p:cNvPr>
            <p:cNvCxnSpPr>
              <a:cxnSpLocks/>
            </p:cNvCxnSpPr>
            <p:nvPr/>
          </p:nvCxnSpPr>
          <p:spPr>
            <a:xfrm>
              <a:off x="5943600" y="2233269"/>
              <a:ext cx="0" cy="1729131"/>
            </a:xfrm>
            <a:prstGeom prst="straightConnector1">
              <a:avLst/>
            </a:prstGeom>
            <a:ln w="76200">
              <a:solidFill>
                <a:srgbClr val="7030A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13B940B8-5616-CF8F-41F9-3748F7722062}"/>
                </a:ext>
              </a:extLst>
            </p:cNvPr>
            <p:cNvCxnSpPr>
              <a:cxnSpLocks/>
            </p:cNvCxnSpPr>
            <p:nvPr/>
          </p:nvCxnSpPr>
          <p:spPr>
            <a:xfrm>
              <a:off x="6629400" y="2233269"/>
              <a:ext cx="0" cy="1729131"/>
            </a:xfrm>
            <a:prstGeom prst="straightConnector1">
              <a:avLst/>
            </a:prstGeom>
            <a:ln w="76200">
              <a:solidFill>
                <a:srgbClr val="7030A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D91236CE-B0B9-5DFF-FBB2-FAEE7D8FC3E5}"/>
                </a:ext>
              </a:extLst>
            </p:cNvPr>
            <p:cNvSpPr txBox="1"/>
            <p:nvPr/>
          </p:nvSpPr>
          <p:spPr>
            <a:xfrm>
              <a:off x="5958605" y="3071470"/>
              <a:ext cx="646331" cy="646331"/>
            </a:xfrm>
            <a:prstGeom prst="rect">
              <a:avLst/>
            </a:prstGeom>
            <a:noFill/>
            <a:ln>
              <a:noFill/>
            </a:ln>
          </p:spPr>
          <p:txBody>
            <a:bodyPr wrap="none" rtlCol="0">
              <a:spAutoFit/>
            </a:bodyPr>
            <a:lstStyle/>
            <a:p>
              <a:r>
                <a:rPr lang="en-US" sz="3600" b="1">
                  <a:solidFill>
                    <a:srgbClr val="7030A0"/>
                  </a:solidFill>
                </a:rPr>
                <a:t>…</a:t>
              </a:r>
              <a:endParaRPr lang="en-US" b="1">
                <a:solidFill>
                  <a:srgbClr val="7030A0"/>
                </a:solidFill>
              </a:endParaRPr>
            </a:p>
          </p:txBody>
        </p:sp>
        <p:cxnSp>
          <p:nvCxnSpPr>
            <p:cNvPr id="59" name="Elbow Connector 58">
              <a:extLst>
                <a:ext uri="{FF2B5EF4-FFF2-40B4-BE49-F238E27FC236}">
                  <a16:creationId xmlns:a16="http://schemas.microsoft.com/office/drawing/2014/main" id="{3CBAEF8F-6AC0-F54B-6868-E225FBCFC064}"/>
                </a:ext>
              </a:extLst>
            </p:cNvPr>
            <p:cNvCxnSpPr>
              <a:cxnSpLocks/>
              <a:stCxn id="11" idx="2"/>
              <a:endCxn id="10" idx="1"/>
            </p:cNvCxnSpPr>
            <p:nvPr/>
          </p:nvCxnSpPr>
          <p:spPr>
            <a:xfrm>
              <a:off x="3439496" y="2590799"/>
              <a:ext cx="1937086" cy="2516168"/>
            </a:xfrm>
            <a:prstGeom prst="bentConnector3">
              <a:avLst>
                <a:gd name="adj1" fmla="val 24967"/>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0EB9CF64-FCFC-8CDA-3AF1-F72D7AD1CA71}"/>
                </a:ext>
              </a:extLst>
            </p:cNvPr>
            <p:cNvCxnSpPr>
              <a:cxnSpLocks/>
              <a:stCxn id="5" idx="2"/>
              <a:endCxn id="10" idx="1"/>
            </p:cNvCxnSpPr>
            <p:nvPr/>
          </p:nvCxnSpPr>
          <p:spPr>
            <a:xfrm>
              <a:off x="3439496" y="4184930"/>
              <a:ext cx="1937086" cy="922037"/>
            </a:xfrm>
            <a:prstGeom prst="bentConnector3">
              <a:avLst>
                <a:gd name="adj1" fmla="val 62338"/>
              </a:avLst>
            </a:prstGeom>
            <a:ln w="762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1" name="Decagon 70">
              <a:extLst>
                <a:ext uri="{FF2B5EF4-FFF2-40B4-BE49-F238E27FC236}">
                  <a16:creationId xmlns:a16="http://schemas.microsoft.com/office/drawing/2014/main" id="{BD4A62B8-162A-82FE-D0A7-80AA0341FAFF}"/>
                </a:ext>
              </a:extLst>
            </p:cNvPr>
            <p:cNvSpPr/>
            <p:nvPr/>
          </p:nvSpPr>
          <p:spPr>
            <a:xfrm>
              <a:off x="6763307" y="4371109"/>
              <a:ext cx="558427" cy="49693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5</a:t>
              </a:r>
            </a:p>
          </p:txBody>
        </p:sp>
        <p:sp>
          <p:nvSpPr>
            <p:cNvPr id="72" name="Octagon 71">
              <a:extLst>
                <a:ext uri="{FF2B5EF4-FFF2-40B4-BE49-F238E27FC236}">
                  <a16:creationId xmlns:a16="http://schemas.microsoft.com/office/drawing/2014/main" id="{7954C9B6-36D1-0306-6EA8-58FCA19DFC56}"/>
                </a:ext>
              </a:extLst>
            </p:cNvPr>
            <p:cNvSpPr/>
            <p:nvPr/>
          </p:nvSpPr>
          <p:spPr>
            <a:xfrm>
              <a:off x="3657601" y="1809114"/>
              <a:ext cx="457200" cy="457200"/>
            </a:xfrm>
            <a:prstGeom prst="octagon">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73" name="Octagon 72">
              <a:extLst>
                <a:ext uri="{FF2B5EF4-FFF2-40B4-BE49-F238E27FC236}">
                  <a16:creationId xmlns:a16="http://schemas.microsoft.com/office/drawing/2014/main" id="{9DDE30E6-938C-5B95-730C-3F6F624D61A1}"/>
                </a:ext>
              </a:extLst>
            </p:cNvPr>
            <p:cNvSpPr/>
            <p:nvPr/>
          </p:nvSpPr>
          <p:spPr>
            <a:xfrm>
              <a:off x="4086591" y="4331267"/>
              <a:ext cx="457200" cy="457200"/>
            </a:xfrm>
            <a:prstGeom prst="octag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1</a:t>
              </a:r>
            </a:p>
          </p:txBody>
        </p:sp>
        <p:sp>
          <p:nvSpPr>
            <p:cNvPr id="74" name="Octagon 73">
              <a:extLst>
                <a:ext uri="{FF2B5EF4-FFF2-40B4-BE49-F238E27FC236}">
                  <a16:creationId xmlns:a16="http://schemas.microsoft.com/office/drawing/2014/main" id="{C185AFD9-977C-1D15-6E5D-3A18A0F1EFA2}"/>
                </a:ext>
              </a:extLst>
            </p:cNvPr>
            <p:cNvSpPr/>
            <p:nvPr/>
          </p:nvSpPr>
          <p:spPr>
            <a:xfrm>
              <a:off x="6858000" y="2019288"/>
              <a:ext cx="457200" cy="457200"/>
            </a:xfrm>
            <a:prstGeom prst="octagon">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3</a:t>
              </a:r>
            </a:p>
          </p:txBody>
        </p:sp>
        <p:sp>
          <p:nvSpPr>
            <p:cNvPr id="75" name="Octagon 74">
              <a:extLst>
                <a:ext uri="{FF2B5EF4-FFF2-40B4-BE49-F238E27FC236}">
                  <a16:creationId xmlns:a16="http://schemas.microsoft.com/office/drawing/2014/main" id="{7C5473BD-ACF7-3601-F453-6B6D980FEEFC}"/>
                </a:ext>
              </a:extLst>
            </p:cNvPr>
            <p:cNvSpPr/>
            <p:nvPr/>
          </p:nvSpPr>
          <p:spPr>
            <a:xfrm>
              <a:off x="6781800" y="3444998"/>
              <a:ext cx="457200" cy="457200"/>
            </a:xfrm>
            <a:prstGeom prst="octagon">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4</a:t>
              </a:r>
            </a:p>
          </p:txBody>
        </p:sp>
        <p:sp>
          <p:nvSpPr>
            <p:cNvPr id="76" name="Up-Down Arrow 75">
              <a:extLst>
                <a:ext uri="{FF2B5EF4-FFF2-40B4-BE49-F238E27FC236}">
                  <a16:creationId xmlns:a16="http://schemas.microsoft.com/office/drawing/2014/main" id="{B2A2E007-B1F0-00BC-2870-FB1BE78D89A0}"/>
                </a:ext>
              </a:extLst>
            </p:cNvPr>
            <p:cNvSpPr/>
            <p:nvPr/>
          </p:nvSpPr>
          <p:spPr>
            <a:xfrm>
              <a:off x="5900770" y="4402116"/>
              <a:ext cx="762000" cy="474683"/>
            </a:xfrm>
            <a:prstGeom prst="upDownArrow">
              <a:avLst>
                <a:gd name="adj1" fmla="val 50000"/>
                <a:gd name="adj2" fmla="val 26219"/>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7" name="Elbow Connector 76">
              <a:extLst>
                <a:ext uri="{FF2B5EF4-FFF2-40B4-BE49-F238E27FC236}">
                  <a16:creationId xmlns:a16="http://schemas.microsoft.com/office/drawing/2014/main" id="{3381DA7E-1345-94F6-899B-E433ED7E7787}"/>
                </a:ext>
              </a:extLst>
            </p:cNvPr>
            <p:cNvCxnSpPr>
              <a:cxnSpLocks/>
              <a:stCxn id="10" idx="2"/>
              <a:endCxn id="6" idx="3"/>
            </p:cNvCxnSpPr>
            <p:nvPr/>
          </p:nvCxnSpPr>
          <p:spPr>
            <a:xfrm rot="5400000">
              <a:off x="4541307" y="4287339"/>
              <a:ext cx="775407" cy="2833763"/>
            </a:xfrm>
            <a:prstGeom prst="bentConnector2">
              <a:avLst/>
            </a:prstGeom>
            <a:ln w="76200">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7" name="Decagon 86">
              <a:extLst>
                <a:ext uri="{FF2B5EF4-FFF2-40B4-BE49-F238E27FC236}">
                  <a16:creationId xmlns:a16="http://schemas.microsoft.com/office/drawing/2014/main" id="{28952DB8-44E9-EFCB-DFF7-1B4F3E265764}"/>
                </a:ext>
              </a:extLst>
            </p:cNvPr>
            <p:cNvSpPr/>
            <p:nvPr/>
          </p:nvSpPr>
          <p:spPr>
            <a:xfrm>
              <a:off x="5621556" y="5487150"/>
              <a:ext cx="558427" cy="496933"/>
            </a:xfrm>
            <a:prstGeom prst="decagon">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6</a:t>
              </a:r>
            </a:p>
          </p:txBody>
        </p:sp>
        <p:cxnSp>
          <p:nvCxnSpPr>
            <p:cNvPr id="97" name="Elbow Connector 96">
              <a:extLst>
                <a:ext uri="{FF2B5EF4-FFF2-40B4-BE49-F238E27FC236}">
                  <a16:creationId xmlns:a16="http://schemas.microsoft.com/office/drawing/2014/main" id="{8F1B3CAF-B6D1-E060-ED55-80D5E599AAE7}"/>
                </a:ext>
              </a:extLst>
            </p:cNvPr>
            <p:cNvCxnSpPr>
              <a:cxnSpLocks/>
              <a:stCxn id="5" idx="2"/>
              <a:endCxn id="6" idx="0"/>
            </p:cNvCxnSpPr>
            <p:nvPr/>
          </p:nvCxnSpPr>
          <p:spPr>
            <a:xfrm flipH="1">
              <a:off x="3150382" y="4184930"/>
              <a:ext cx="289114" cy="1670394"/>
            </a:xfrm>
            <a:prstGeom prst="bentConnector4">
              <a:avLst>
                <a:gd name="adj1" fmla="val -416910"/>
                <a:gd name="adj2" fmla="val 73509"/>
              </a:avLst>
            </a:prstGeom>
            <a:ln w="762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136" name="Octagon 135">
            <a:extLst>
              <a:ext uri="{FF2B5EF4-FFF2-40B4-BE49-F238E27FC236}">
                <a16:creationId xmlns:a16="http://schemas.microsoft.com/office/drawing/2014/main" id="{20295349-1A30-1249-0628-9AB4C0128A35}"/>
              </a:ext>
            </a:extLst>
          </p:cNvPr>
          <p:cNvSpPr/>
          <p:nvPr/>
        </p:nvSpPr>
        <p:spPr>
          <a:xfrm>
            <a:off x="6701331" y="1466285"/>
            <a:ext cx="457200" cy="457200"/>
          </a:xfrm>
          <a:prstGeom prst="octag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1</a:t>
            </a:r>
          </a:p>
        </p:txBody>
      </p:sp>
      <p:sp>
        <p:nvSpPr>
          <p:cNvPr id="138" name="Octagon 137">
            <a:extLst>
              <a:ext uri="{FF2B5EF4-FFF2-40B4-BE49-F238E27FC236}">
                <a16:creationId xmlns:a16="http://schemas.microsoft.com/office/drawing/2014/main" id="{B5BD0711-932F-1BD5-FB78-02171E8E6ADE}"/>
              </a:ext>
            </a:extLst>
          </p:cNvPr>
          <p:cNvSpPr/>
          <p:nvPr/>
        </p:nvSpPr>
        <p:spPr>
          <a:xfrm>
            <a:off x="6691228" y="2192780"/>
            <a:ext cx="457200" cy="457200"/>
          </a:xfrm>
          <a:prstGeom prst="octagon">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139" name="Octagon 138">
            <a:extLst>
              <a:ext uri="{FF2B5EF4-FFF2-40B4-BE49-F238E27FC236}">
                <a16:creationId xmlns:a16="http://schemas.microsoft.com/office/drawing/2014/main" id="{09DAED59-1741-8EAE-4CA6-264649DC7563}"/>
              </a:ext>
            </a:extLst>
          </p:cNvPr>
          <p:cNvSpPr/>
          <p:nvPr/>
        </p:nvSpPr>
        <p:spPr>
          <a:xfrm>
            <a:off x="6691229" y="2919275"/>
            <a:ext cx="457200" cy="457200"/>
          </a:xfrm>
          <a:prstGeom prst="octagon">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3</a:t>
            </a:r>
          </a:p>
        </p:txBody>
      </p:sp>
      <p:sp>
        <p:nvSpPr>
          <p:cNvPr id="140" name="Octagon 139">
            <a:extLst>
              <a:ext uri="{FF2B5EF4-FFF2-40B4-BE49-F238E27FC236}">
                <a16:creationId xmlns:a16="http://schemas.microsoft.com/office/drawing/2014/main" id="{597DEC2C-AC30-5E26-9D46-412529C3400C}"/>
              </a:ext>
            </a:extLst>
          </p:cNvPr>
          <p:cNvSpPr/>
          <p:nvPr/>
        </p:nvSpPr>
        <p:spPr>
          <a:xfrm>
            <a:off x="6691229" y="3651832"/>
            <a:ext cx="457200" cy="457200"/>
          </a:xfrm>
          <a:prstGeom prst="octagon">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4</a:t>
            </a:r>
          </a:p>
        </p:txBody>
      </p:sp>
      <p:sp>
        <p:nvSpPr>
          <p:cNvPr id="141" name="Decagon 140">
            <a:extLst>
              <a:ext uri="{FF2B5EF4-FFF2-40B4-BE49-F238E27FC236}">
                <a16:creationId xmlns:a16="http://schemas.microsoft.com/office/drawing/2014/main" id="{9B256D56-3212-95F0-5C36-556DD66ED903}"/>
              </a:ext>
            </a:extLst>
          </p:cNvPr>
          <p:cNvSpPr/>
          <p:nvPr/>
        </p:nvSpPr>
        <p:spPr>
          <a:xfrm>
            <a:off x="6691228" y="4378327"/>
            <a:ext cx="558427" cy="49693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5</a:t>
            </a:r>
          </a:p>
        </p:txBody>
      </p:sp>
      <p:sp>
        <p:nvSpPr>
          <p:cNvPr id="142" name="Decagon 141">
            <a:extLst>
              <a:ext uri="{FF2B5EF4-FFF2-40B4-BE49-F238E27FC236}">
                <a16:creationId xmlns:a16="http://schemas.microsoft.com/office/drawing/2014/main" id="{CF9917D9-2BA6-440A-798C-5B7F8E927EC2}"/>
              </a:ext>
            </a:extLst>
          </p:cNvPr>
          <p:cNvSpPr/>
          <p:nvPr/>
        </p:nvSpPr>
        <p:spPr>
          <a:xfrm>
            <a:off x="6691229" y="5097248"/>
            <a:ext cx="558427" cy="496933"/>
          </a:xfrm>
          <a:prstGeom prst="decagon">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6</a:t>
            </a:r>
          </a:p>
        </p:txBody>
      </p:sp>
    </p:spTree>
    <p:extLst>
      <p:ext uri="{BB962C8B-B14F-4D97-AF65-F5344CB8AC3E}">
        <p14:creationId xmlns:p14="http://schemas.microsoft.com/office/powerpoint/2010/main" val="4569422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137D4-61AD-7F69-DB31-CF389439F912}"/>
              </a:ext>
            </a:extLst>
          </p:cNvPr>
          <p:cNvSpPr>
            <a:spLocks noGrp="1"/>
          </p:cNvSpPr>
          <p:nvPr>
            <p:ph type="title"/>
          </p:nvPr>
        </p:nvSpPr>
        <p:spPr>
          <a:xfrm>
            <a:off x="914400" y="152400"/>
            <a:ext cx="10363200" cy="419100"/>
          </a:xfrm>
        </p:spPr>
        <p:txBody>
          <a:bodyPr/>
          <a:lstStyle/>
          <a:p>
            <a:r>
              <a:rPr lang="en-US" sz="3200" dirty="0"/>
              <a:t>R/W Access Timing</a:t>
            </a:r>
          </a:p>
        </p:txBody>
      </p:sp>
      <p:sp>
        <p:nvSpPr>
          <p:cNvPr id="3" name="Content Placeholder 2">
            <a:extLst>
              <a:ext uri="{FF2B5EF4-FFF2-40B4-BE49-F238E27FC236}">
                <a16:creationId xmlns:a16="http://schemas.microsoft.com/office/drawing/2014/main" id="{889A346F-D88D-9C68-2D85-17719C3924FA}"/>
              </a:ext>
            </a:extLst>
          </p:cNvPr>
          <p:cNvSpPr>
            <a:spLocks noGrp="1"/>
          </p:cNvSpPr>
          <p:nvPr>
            <p:ph idx="1"/>
          </p:nvPr>
        </p:nvSpPr>
        <p:spPr>
          <a:xfrm>
            <a:off x="3070458" y="3799827"/>
            <a:ext cx="8969141" cy="2344954"/>
          </a:xfrm>
        </p:spPr>
        <p:txBody>
          <a:bodyPr/>
          <a:lstStyle/>
          <a:p>
            <a:pPr marL="0" indent="0">
              <a:buNone/>
            </a:pPr>
            <a:r>
              <a:rPr lang="en-US" sz="1400" dirty="0"/>
              <a:t>Number series of DDR timing , </a:t>
            </a:r>
            <a:r>
              <a:rPr lang="en-US" sz="1400" dirty="0" err="1"/>
              <a:t>eg.</a:t>
            </a:r>
            <a:r>
              <a:rPr lang="en-US" sz="1400" dirty="0"/>
              <a:t> 4-4-4-10-1, are cycle counts of bus clock</a:t>
            </a:r>
            <a:br>
              <a:rPr lang="en-US" sz="1400" dirty="0"/>
            </a:br>
            <a:r>
              <a:rPr lang="en-US" sz="1400" dirty="0"/>
              <a:t>That is </a:t>
            </a:r>
            <a:r>
              <a:rPr lang="en-US" sz="1400" dirty="0" err="1"/>
              <a:t>tCL</a:t>
            </a:r>
            <a:r>
              <a:rPr lang="en-US" sz="1400" dirty="0"/>
              <a:t>-</a:t>
            </a:r>
            <a:r>
              <a:rPr lang="en-US" sz="1400" dirty="0" err="1"/>
              <a:t>tRCD</a:t>
            </a:r>
            <a:r>
              <a:rPr lang="en-US" sz="1400" dirty="0"/>
              <a:t>-</a:t>
            </a:r>
            <a:r>
              <a:rPr lang="en-US" sz="1400" dirty="0" err="1"/>
              <a:t>tRP</a:t>
            </a:r>
            <a:r>
              <a:rPr lang="en-US" sz="1400" dirty="0"/>
              <a:t>-</a:t>
            </a:r>
            <a:r>
              <a:rPr lang="en-US" sz="1400" dirty="0" err="1"/>
              <a:t>tRAS</a:t>
            </a:r>
            <a:r>
              <a:rPr lang="en-US" sz="1400" dirty="0"/>
              <a:t>-CMD </a:t>
            </a:r>
          </a:p>
          <a:p>
            <a:pPr>
              <a:spcBef>
                <a:spcPts val="0"/>
              </a:spcBef>
            </a:pPr>
            <a:r>
              <a:rPr lang="en-US" sz="1400" b="0" dirty="0" err="1"/>
              <a:t>tCL</a:t>
            </a:r>
            <a:r>
              <a:rPr lang="en-US" sz="1400" b="0" dirty="0"/>
              <a:t> (</a:t>
            </a:r>
            <a:r>
              <a:rPr lang="en-US" sz="1400" b="0" u="sng" dirty="0"/>
              <a:t>C</a:t>
            </a:r>
            <a:r>
              <a:rPr lang="en-US" sz="1400" b="0" dirty="0"/>
              <a:t>AS </a:t>
            </a:r>
            <a:r>
              <a:rPr lang="en-US" sz="1400" b="0" u="sng" dirty="0"/>
              <a:t>L</a:t>
            </a:r>
            <a:r>
              <a:rPr lang="en-US" sz="1400" b="0" dirty="0"/>
              <a:t>atency): </a:t>
            </a:r>
            <a:r>
              <a:rPr lang="en-US" sz="1400" b="0" dirty="0">
                <a:solidFill>
                  <a:schemeClr val="accent2"/>
                </a:solidFill>
              </a:rPr>
              <a:t>1</a:t>
            </a:r>
            <a:r>
              <a:rPr lang="en-US" sz="1400" b="0" dirty="0"/>
              <a:t>+</a:t>
            </a:r>
            <a:r>
              <a:rPr lang="en-US" sz="1400" b="0" dirty="0">
                <a:solidFill>
                  <a:schemeClr val="bg1">
                    <a:lumMod val="65000"/>
                  </a:schemeClr>
                </a:solidFill>
              </a:rPr>
              <a:t>5</a:t>
            </a:r>
            <a:r>
              <a:rPr lang="en-US" sz="1400" b="0" dirty="0"/>
              <a:t>+6 – Time from asking (CAS) to the begin of data return.</a:t>
            </a:r>
          </a:p>
          <a:p>
            <a:pPr>
              <a:spcBef>
                <a:spcPts val="0"/>
              </a:spcBef>
            </a:pPr>
            <a:r>
              <a:rPr lang="en-US" sz="1400" b="0" dirty="0" err="1"/>
              <a:t>tRCD</a:t>
            </a:r>
            <a:r>
              <a:rPr lang="en-US" sz="1400" b="0" dirty="0"/>
              <a:t> (</a:t>
            </a:r>
            <a:r>
              <a:rPr lang="en-US" sz="1400" b="0" u="sng" dirty="0"/>
              <a:t>R</a:t>
            </a:r>
            <a:r>
              <a:rPr lang="en-US" sz="1400" b="0" dirty="0"/>
              <a:t>AS to </a:t>
            </a:r>
            <a:r>
              <a:rPr lang="en-US" sz="1400" b="0" u="sng" dirty="0"/>
              <a:t>C</a:t>
            </a:r>
            <a:r>
              <a:rPr lang="en-US" sz="1400" b="0" dirty="0"/>
              <a:t>AS </a:t>
            </a:r>
            <a:r>
              <a:rPr lang="en-US" sz="1400" b="0" u="sng" dirty="0"/>
              <a:t>D</a:t>
            </a:r>
            <a:r>
              <a:rPr lang="en-US" sz="1400" b="0" dirty="0"/>
              <a:t>elay): </a:t>
            </a:r>
            <a:r>
              <a:rPr lang="en-US" sz="1400" b="0" dirty="0">
                <a:solidFill>
                  <a:srgbClr val="00B050"/>
                </a:solidFill>
              </a:rPr>
              <a:t>3 to </a:t>
            </a:r>
            <a:r>
              <a:rPr lang="en-US" sz="1400" b="0" dirty="0">
                <a:solidFill>
                  <a:srgbClr val="7030A0"/>
                </a:solidFill>
              </a:rPr>
              <a:t>4 –</a:t>
            </a:r>
            <a:r>
              <a:rPr lang="en-US" sz="1400" b="0" dirty="0"/>
              <a:t> Time to activate a row to access columns</a:t>
            </a:r>
            <a:br>
              <a:rPr lang="en-US" sz="1400" b="0" dirty="0"/>
            </a:br>
            <a:r>
              <a:rPr lang="en-US" sz="1400" b="0" dirty="0"/>
              <a:t>To read the first bit without any row activation: </a:t>
            </a:r>
            <a:r>
              <a:rPr lang="en-US" sz="1400" b="0" dirty="0" err="1"/>
              <a:t>tRCD</a:t>
            </a:r>
            <a:r>
              <a:rPr lang="en-US" sz="1400" b="0" dirty="0"/>
              <a:t> + </a:t>
            </a:r>
            <a:r>
              <a:rPr lang="en-US" sz="1400" b="0" dirty="0" err="1"/>
              <a:t>tCL</a:t>
            </a:r>
            <a:r>
              <a:rPr lang="en-US" sz="1400" b="0" dirty="0"/>
              <a:t> (see </a:t>
            </a:r>
            <a:r>
              <a:rPr lang="en-US" sz="1400" b="0" dirty="0" err="1"/>
              <a:t>tRAS</a:t>
            </a:r>
            <a:r>
              <a:rPr lang="en-US" sz="1400" b="0" dirty="0"/>
              <a:t>)</a:t>
            </a:r>
          </a:p>
          <a:p>
            <a:pPr>
              <a:spcBef>
                <a:spcPts val="0"/>
              </a:spcBef>
            </a:pPr>
            <a:r>
              <a:rPr lang="en-US" sz="1400" b="0" dirty="0" err="1"/>
              <a:t>tRP</a:t>
            </a:r>
            <a:r>
              <a:rPr lang="en-US" sz="1400" b="0" dirty="0"/>
              <a:t> (</a:t>
            </a:r>
            <a:r>
              <a:rPr lang="en-US" sz="1400" b="0" u="sng" dirty="0"/>
              <a:t>R</a:t>
            </a:r>
            <a:r>
              <a:rPr lang="en-US" sz="1400" b="0" dirty="0"/>
              <a:t>AS </a:t>
            </a:r>
            <a:r>
              <a:rPr lang="en-US" sz="1400" b="0" u="sng" dirty="0" err="1"/>
              <a:t>P</a:t>
            </a:r>
            <a:r>
              <a:rPr lang="en-US" sz="1400" b="0" dirty="0" err="1"/>
              <a:t>recharge</a:t>
            </a:r>
            <a:r>
              <a:rPr lang="en-US" sz="1400" b="0" dirty="0"/>
              <a:t>): </a:t>
            </a:r>
            <a:r>
              <a:rPr lang="en-US" sz="1400" b="0" dirty="0">
                <a:solidFill>
                  <a:srgbClr val="7030A0"/>
                </a:solidFill>
              </a:rPr>
              <a:t>4 – </a:t>
            </a:r>
            <a:r>
              <a:rPr lang="en-US" sz="1400" b="0" dirty="0"/>
              <a:t>Time to enable a row from another (disabling).</a:t>
            </a:r>
            <a:br>
              <a:rPr lang="en-US" sz="1400" b="0" dirty="0"/>
            </a:br>
            <a:r>
              <a:rPr lang="en-US" sz="1400" b="0" dirty="0"/>
              <a:t>The new row can be accessed only after </a:t>
            </a:r>
            <a:r>
              <a:rPr lang="en-US" sz="1400" b="0" dirty="0" err="1"/>
              <a:t>precharging</a:t>
            </a:r>
            <a:r>
              <a:rPr lang="en-US" sz="1400" b="0" dirty="0"/>
              <a:t> the columns. Therefore, the overall time get data from new row is </a:t>
            </a:r>
            <a:r>
              <a:rPr lang="en-US" sz="1400" b="0" dirty="0" err="1"/>
              <a:t>tRP</a:t>
            </a:r>
            <a:r>
              <a:rPr lang="en-US" sz="1400" b="0" dirty="0"/>
              <a:t> + </a:t>
            </a:r>
            <a:r>
              <a:rPr lang="en-US" sz="1400" b="0" dirty="0" err="1"/>
              <a:t>tRCD</a:t>
            </a:r>
            <a:r>
              <a:rPr lang="en-US" sz="1400" b="0" dirty="0"/>
              <a:t> +</a:t>
            </a:r>
            <a:r>
              <a:rPr lang="en-US" sz="1400" b="0" dirty="0" err="1"/>
              <a:t>tCL</a:t>
            </a:r>
            <a:r>
              <a:rPr lang="en-US" sz="1400" b="0" dirty="0"/>
              <a:t>.</a:t>
            </a:r>
          </a:p>
          <a:p>
            <a:pPr>
              <a:spcBef>
                <a:spcPts val="0"/>
              </a:spcBef>
            </a:pPr>
            <a:r>
              <a:rPr lang="en-US" sz="1400" b="0" dirty="0" err="1"/>
              <a:t>tRAS</a:t>
            </a:r>
            <a:r>
              <a:rPr lang="en-US" sz="1400" b="0" dirty="0"/>
              <a:t> (Time to RAS) : 1~5 – Activate to </a:t>
            </a:r>
            <a:r>
              <a:rPr lang="en-US" sz="1400" b="0" dirty="0" err="1"/>
              <a:t>Precharge</a:t>
            </a:r>
            <a:r>
              <a:rPr lang="en-US" sz="1400" b="0" dirty="0"/>
              <a:t> Delay. Wait-time to access next row before </a:t>
            </a:r>
            <a:r>
              <a:rPr lang="en-US" sz="1400" b="0" dirty="0" err="1"/>
              <a:t>tRCD</a:t>
            </a:r>
            <a:r>
              <a:rPr lang="en-US" sz="1400" b="0" dirty="0"/>
              <a:t> + </a:t>
            </a:r>
            <a:r>
              <a:rPr lang="en-US" sz="1400" b="0" dirty="0" err="1"/>
              <a:t>tCL</a:t>
            </a:r>
            <a:r>
              <a:rPr lang="en-US" sz="1400" b="0" dirty="0"/>
              <a:t> + n </a:t>
            </a:r>
            <a:r>
              <a:rPr lang="en-US" sz="1400" b="0" dirty="0" err="1"/>
              <a:t>cylces</a:t>
            </a:r>
            <a:endParaRPr lang="en-US" sz="1400" b="0" dirty="0"/>
          </a:p>
          <a:p>
            <a:pPr>
              <a:spcBef>
                <a:spcPts val="0"/>
              </a:spcBef>
            </a:pPr>
            <a:r>
              <a:rPr lang="en-US" sz="1400" b="0" dirty="0"/>
              <a:t>CMD: Command Rate. Cycle count from activated to the first command, typically 1-2 cycles</a:t>
            </a:r>
          </a:p>
        </p:txBody>
      </p:sp>
      <p:pic>
        <p:nvPicPr>
          <p:cNvPr id="7" name="Picture 6">
            <a:extLst>
              <a:ext uri="{FF2B5EF4-FFF2-40B4-BE49-F238E27FC236}">
                <a16:creationId xmlns:a16="http://schemas.microsoft.com/office/drawing/2014/main" id="{137F2ED4-9535-D5BB-BC1D-AB4BEA317690}"/>
              </a:ext>
            </a:extLst>
          </p:cNvPr>
          <p:cNvPicPr>
            <a:picLocks noChangeAspect="1"/>
          </p:cNvPicPr>
          <p:nvPr/>
        </p:nvPicPr>
        <p:blipFill>
          <a:blip r:embed="rId2"/>
          <a:stretch>
            <a:fillRect/>
          </a:stretch>
        </p:blipFill>
        <p:spPr>
          <a:xfrm>
            <a:off x="43543" y="1386332"/>
            <a:ext cx="2510890" cy="2497354"/>
          </a:xfrm>
          <a:prstGeom prst="rect">
            <a:avLst/>
          </a:prstGeom>
        </p:spPr>
      </p:pic>
      <p:graphicFrame>
        <p:nvGraphicFramePr>
          <p:cNvPr id="9" name="Table 8">
            <a:extLst>
              <a:ext uri="{FF2B5EF4-FFF2-40B4-BE49-F238E27FC236}">
                <a16:creationId xmlns:a16="http://schemas.microsoft.com/office/drawing/2014/main" id="{5093158D-8141-458F-1723-42082F7F537C}"/>
              </a:ext>
            </a:extLst>
          </p:cNvPr>
          <p:cNvGraphicFramePr>
            <a:graphicFrameLocks noGrp="1"/>
          </p:cNvGraphicFramePr>
          <p:nvPr/>
        </p:nvGraphicFramePr>
        <p:xfrm>
          <a:off x="2663290" y="746265"/>
          <a:ext cx="9485167" cy="2962656"/>
        </p:xfrm>
        <a:graphic>
          <a:graphicData uri="http://schemas.openxmlformats.org/drawingml/2006/table">
            <a:tbl>
              <a:tblPr firstRow="1" bandRow="1">
                <a:tableStyleId>{21E4AEA4-8DFA-4A89-87EB-49C32662AFE0}</a:tableStyleId>
              </a:tblPr>
              <a:tblGrid>
                <a:gridCol w="2172018">
                  <a:extLst>
                    <a:ext uri="{9D8B030D-6E8A-4147-A177-3AD203B41FA5}">
                      <a16:colId xmlns:a16="http://schemas.microsoft.com/office/drawing/2014/main" val="822736201"/>
                    </a:ext>
                  </a:extLst>
                </a:gridCol>
                <a:gridCol w="828384">
                  <a:extLst>
                    <a:ext uri="{9D8B030D-6E8A-4147-A177-3AD203B41FA5}">
                      <a16:colId xmlns:a16="http://schemas.microsoft.com/office/drawing/2014/main" val="3992617231"/>
                    </a:ext>
                  </a:extLst>
                </a:gridCol>
                <a:gridCol w="1184660">
                  <a:extLst>
                    <a:ext uri="{9D8B030D-6E8A-4147-A177-3AD203B41FA5}">
                      <a16:colId xmlns:a16="http://schemas.microsoft.com/office/drawing/2014/main" val="2916033322"/>
                    </a:ext>
                  </a:extLst>
                </a:gridCol>
                <a:gridCol w="771896">
                  <a:extLst>
                    <a:ext uri="{9D8B030D-6E8A-4147-A177-3AD203B41FA5}">
                      <a16:colId xmlns:a16="http://schemas.microsoft.com/office/drawing/2014/main" val="902570708"/>
                    </a:ext>
                  </a:extLst>
                </a:gridCol>
                <a:gridCol w="751856">
                  <a:extLst>
                    <a:ext uri="{9D8B030D-6E8A-4147-A177-3AD203B41FA5}">
                      <a16:colId xmlns:a16="http://schemas.microsoft.com/office/drawing/2014/main" val="4036006801"/>
                    </a:ext>
                  </a:extLst>
                </a:gridCol>
                <a:gridCol w="760021">
                  <a:extLst>
                    <a:ext uri="{9D8B030D-6E8A-4147-A177-3AD203B41FA5}">
                      <a16:colId xmlns:a16="http://schemas.microsoft.com/office/drawing/2014/main" val="3304897074"/>
                    </a:ext>
                  </a:extLst>
                </a:gridCol>
                <a:gridCol w="768186">
                  <a:extLst>
                    <a:ext uri="{9D8B030D-6E8A-4147-A177-3AD203B41FA5}">
                      <a16:colId xmlns:a16="http://schemas.microsoft.com/office/drawing/2014/main" val="1176604144"/>
                    </a:ext>
                  </a:extLst>
                </a:gridCol>
                <a:gridCol w="831273">
                  <a:extLst>
                    <a:ext uri="{9D8B030D-6E8A-4147-A177-3AD203B41FA5}">
                      <a16:colId xmlns:a16="http://schemas.microsoft.com/office/drawing/2014/main" val="935480143"/>
                    </a:ext>
                  </a:extLst>
                </a:gridCol>
                <a:gridCol w="514348">
                  <a:extLst>
                    <a:ext uri="{9D8B030D-6E8A-4147-A177-3AD203B41FA5}">
                      <a16:colId xmlns:a16="http://schemas.microsoft.com/office/drawing/2014/main" val="2273442095"/>
                    </a:ext>
                  </a:extLst>
                </a:gridCol>
                <a:gridCol w="902525">
                  <a:extLst>
                    <a:ext uri="{9D8B030D-6E8A-4147-A177-3AD203B41FA5}">
                      <a16:colId xmlns:a16="http://schemas.microsoft.com/office/drawing/2014/main" val="3873187135"/>
                    </a:ext>
                  </a:extLst>
                </a:gridCol>
              </a:tblGrid>
              <a:tr h="187960">
                <a:tc>
                  <a:txBody>
                    <a:bodyPr/>
                    <a:lstStyle/>
                    <a:p>
                      <a:pPr algn="r"/>
                      <a:r>
                        <a:rPr lang="en-US" sz="1200"/>
                        <a:t>Parts</a:t>
                      </a:r>
                    </a:p>
                  </a:txBody>
                  <a:tcPr marL="36576" marR="36576" marT="18288" marB="18288" anchor="ctr"/>
                </a:tc>
                <a:tc>
                  <a:txBody>
                    <a:bodyPr/>
                    <a:lstStyle/>
                    <a:p>
                      <a:pPr algn="ctr"/>
                      <a:r>
                        <a:rPr lang="en-US" sz="1200"/>
                        <a:t>SEC LP5</a:t>
                      </a:r>
                    </a:p>
                    <a:p>
                      <a:pPr marL="0" marR="0" lvl="0" indent="0" algn="ctr" defTabSz="1108070" rtl="0" eaLnBrk="1" fontAlgn="auto" latinLnBrk="0" hangingPunct="1">
                        <a:lnSpc>
                          <a:spcPct val="100000"/>
                        </a:lnSpc>
                        <a:spcBef>
                          <a:spcPts val="0"/>
                        </a:spcBef>
                        <a:spcAft>
                          <a:spcPts val="0"/>
                        </a:spcAft>
                        <a:buClrTx/>
                        <a:buSzTx/>
                        <a:buFontTx/>
                        <a:buNone/>
                        <a:tabLst/>
                        <a:defRPr/>
                      </a:pPr>
                      <a:r>
                        <a:rPr lang="en-US" sz="1200"/>
                        <a:t>6400</a:t>
                      </a:r>
                    </a:p>
                  </a:txBody>
                  <a:tcPr marL="36576" marR="36576" marT="18288" marB="18288" anchor="ctr"/>
                </a:tc>
                <a:tc>
                  <a:txBody>
                    <a:bodyPr/>
                    <a:lstStyle/>
                    <a:p>
                      <a:pPr algn="ctr"/>
                      <a:r>
                        <a:rPr lang="en-US" sz="1200"/>
                        <a:t>MU DDR5 8800AN</a:t>
                      </a:r>
                    </a:p>
                  </a:txBody>
                  <a:tcPr marL="36576" marR="36576" marT="18288" marB="18288" anchor="ctr"/>
                </a:tc>
                <a:tc>
                  <a:txBody>
                    <a:bodyPr/>
                    <a:lstStyle/>
                    <a:p>
                      <a:pPr algn="ctr"/>
                      <a:r>
                        <a:rPr lang="en-US" sz="1200"/>
                        <a:t>HBM3</a:t>
                      </a:r>
                    </a:p>
                    <a:p>
                      <a:pPr algn="ctr"/>
                      <a:r>
                        <a:rPr lang="en-US" sz="1200"/>
                        <a:t>JESD238</a:t>
                      </a:r>
                    </a:p>
                  </a:txBody>
                  <a:tcPr marL="36576" marR="36576" marT="18288" marB="18288" anchor="ctr"/>
                </a:tc>
                <a:tc>
                  <a:txBody>
                    <a:bodyPr/>
                    <a:lstStyle/>
                    <a:p>
                      <a:pPr algn="ctr"/>
                      <a:r>
                        <a:rPr lang="en-US" sz="1200"/>
                        <a:t>APM </a:t>
                      </a:r>
                    </a:p>
                    <a:p>
                      <a:pPr algn="ctr"/>
                      <a:r>
                        <a:rPr lang="en-US" sz="1200"/>
                        <a:t>VHM</a:t>
                      </a:r>
                    </a:p>
                  </a:txBody>
                  <a:tcPr marL="36576" marR="36576" marT="18288" marB="18288" anchor="ctr"/>
                </a:tc>
                <a:tc>
                  <a:txBody>
                    <a:bodyPr/>
                    <a:lstStyle/>
                    <a:p>
                      <a:pPr algn="ctr"/>
                      <a:r>
                        <a:rPr lang="en-US" sz="1200"/>
                        <a:t>Samsung  LLW</a:t>
                      </a:r>
                    </a:p>
                  </a:txBody>
                  <a:tcPr marL="36576" marR="36576" marT="18288" marB="18288" anchor="ctr"/>
                </a:tc>
                <a:tc>
                  <a:txBody>
                    <a:bodyPr/>
                    <a:lstStyle/>
                    <a:p>
                      <a:pPr marL="0" marR="0" lvl="0" indent="0" algn="ctr" defTabSz="1108070" rtl="0" eaLnBrk="1" fontAlgn="auto" latinLnBrk="0" hangingPunct="1">
                        <a:lnSpc>
                          <a:spcPct val="100000"/>
                        </a:lnSpc>
                        <a:spcBef>
                          <a:spcPts val="0"/>
                        </a:spcBef>
                        <a:spcAft>
                          <a:spcPts val="0"/>
                        </a:spcAft>
                        <a:buClrTx/>
                        <a:buSzTx/>
                        <a:buFontTx/>
                        <a:buNone/>
                        <a:tabLst/>
                        <a:defRPr/>
                      </a:pPr>
                      <a:r>
                        <a:rPr lang="en-US" sz="1200"/>
                        <a:t>Samsung  LLC</a:t>
                      </a:r>
                    </a:p>
                  </a:txBody>
                  <a:tcPr marL="36576" marR="36576" marT="18288" marB="18288" anchor="ctr"/>
                </a:tc>
                <a:tc>
                  <a:txBody>
                    <a:bodyPr/>
                    <a:lstStyle/>
                    <a:p>
                      <a:pPr algn="ctr"/>
                      <a:r>
                        <a:rPr lang="en-US" sz="1200"/>
                        <a:t>SKH-Intel TCD</a:t>
                      </a:r>
                    </a:p>
                  </a:txBody>
                  <a:tcPr marL="36576" marR="36576" marT="18288" marB="18288" anchor="ctr"/>
                </a:tc>
                <a:tc>
                  <a:txBody>
                    <a:bodyPr/>
                    <a:lstStyle/>
                    <a:p>
                      <a:pPr algn="ctr"/>
                      <a:r>
                        <a:rPr lang="en-US" sz="1200"/>
                        <a:t>ADM Gen1</a:t>
                      </a:r>
                    </a:p>
                  </a:txBody>
                  <a:tcPr marL="36576" marR="36576" marT="18288" marB="18288" anchor="ctr"/>
                </a:tc>
                <a:tc>
                  <a:txBody>
                    <a:bodyPr/>
                    <a:lstStyle/>
                    <a:p>
                      <a:pPr algn="ctr"/>
                      <a:r>
                        <a:rPr lang="en-US" sz="1200"/>
                        <a:t>ELP</a:t>
                      </a:r>
                    </a:p>
                    <a:p>
                      <a:pPr algn="ctr"/>
                      <a:r>
                        <a:rPr lang="en-US" sz="1200"/>
                        <a:t>MDC</a:t>
                      </a:r>
                    </a:p>
                  </a:txBody>
                  <a:tcPr marL="36576" marR="36576" marT="18288" marB="18288" anchor="ctr"/>
                </a:tc>
                <a:extLst>
                  <a:ext uri="{0D108BD9-81ED-4DB2-BD59-A6C34878D82A}">
                    <a16:rowId xmlns:a16="http://schemas.microsoft.com/office/drawing/2014/main" val="627460601"/>
                  </a:ext>
                </a:extLst>
              </a:tr>
              <a:tr h="66675">
                <a:tc>
                  <a:txBody>
                    <a:bodyPr/>
                    <a:lstStyle/>
                    <a:p>
                      <a:pPr algn="r"/>
                      <a:r>
                        <a:rPr lang="en-US" sz="1200"/>
                        <a:t>Timing codes</a:t>
                      </a:r>
                    </a:p>
                  </a:txBody>
                  <a:tcPr marL="36576" marR="36576" marT="18288" marB="18288" anchor="ctr"/>
                </a:tc>
                <a:tc>
                  <a:txBody>
                    <a:bodyPr/>
                    <a:lstStyle/>
                    <a:p>
                      <a:pPr algn="ctr"/>
                      <a:r>
                        <a:rPr lang="en-US" sz="1200"/>
                        <a:t>58-58-58</a:t>
                      </a:r>
                    </a:p>
                  </a:txBody>
                  <a:tcPr marL="36576" marR="36576" marT="18288" marB="18288" anchor="ctr"/>
                </a:tc>
                <a:tc>
                  <a:txBody>
                    <a:bodyPr/>
                    <a:lstStyle/>
                    <a:p>
                      <a:pPr algn="ctr"/>
                      <a:r>
                        <a:rPr lang="en-US" sz="1200"/>
                        <a:t>62-62-62-141-1</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extLst>
                  <a:ext uri="{0D108BD9-81ED-4DB2-BD59-A6C34878D82A}">
                    <a16:rowId xmlns:a16="http://schemas.microsoft.com/office/drawing/2014/main" val="3424861271"/>
                  </a:ext>
                </a:extLst>
              </a:tr>
              <a:tr h="66675">
                <a:tc>
                  <a:txBody>
                    <a:bodyPr/>
                    <a:lstStyle/>
                    <a:p>
                      <a:pPr algn="r"/>
                      <a:r>
                        <a:rPr lang="en-US" sz="1200"/>
                        <a:t>Bus Freq in GHz / Data Rate</a:t>
                      </a:r>
                    </a:p>
                  </a:txBody>
                  <a:tcPr marL="36576" marR="36576" marT="18288" marB="18288" anchor="ctr"/>
                </a:tc>
                <a:tc>
                  <a:txBody>
                    <a:bodyPr/>
                    <a:lstStyle/>
                    <a:p>
                      <a:pPr algn="ctr"/>
                      <a:r>
                        <a:rPr lang="en-US" sz="1200"/>
                        <a:t>3.2 / DDR</a:t>
                      </a:r>
                    </a:p>
                  </a:txBody>
                  <a:tcPr marL="36576" marR="36576" marT="18288" marB="18288" anchor="ctr"/>
                </a:tc>
                <a:tc>
                  <a:txBody>
                    <a:bodyPr/>
                    <a:lstStyle/>
                    <a:p>
                      <a:pPr algn="ctr"/>
                      <a:r>
                        <a:rPr lang="en-US" sz="1200"/>
                        <a:t>4.4 / DDR</a:t>
                      </a:r>
                    </a:p>
                  </a:txBody>
                  <a:tcPr marL="36576" marR="36576" marT="18288" marB="18288" anchor="ctr"/>
                </a:tc>
                <a:tc>
                  <a:txBody>
                    <a:bodyPr/>
                    <a:lstStyle/>
                    <a:p>
                      <a:pPr algn="ctr"/>
                      <a:endParaRPr lang="en-US" sz="1200"/>
                    </a:p>
                  </a:txBody>
                  <a:tcPr marL="36576" marR="36576" marT="18288" marB="18288" anchor="ctr"/>
                </a:tc>
                <a:tc>
                  <a:txBody>
                    <a:bodyPr/>
                    <a:lstStyle/>
                    <a:p>
                      <a:pPr algn="ctr"/>
                      <a:r>
                        <a:rPr lang="en-US" sz="1200"/>
                        <a:t>0.5 / SDR</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extLst>
                  <a:ext uri="{0D108BD9-81ED-4DB2-BD59-A6C34878D82A}">
                    <a16:rowId xmlns:a16="http://schemas.microsoft.com/office/drawing/2014/main" val="2122685919"/>
                  </a:ext>
                </a:extLst>
              </a:tr>
              <a:tr h="66675">
                <a:tc>
                  <a:txBody>
                    <a:bodyPr/>
                    <a:lstStyle/>
                    <a:p>
                      <a:pPr algn="r"/>
                      <a:r>
                        <a:rPr lang="en-US" sz="1200" err="1"/>
                        <a:t>tCL</a:t>
                      </a:r>
                      <a:r>
                        <a:rPr lang="en-US" sz="1200"/>
                        <a:t> (ns)</a:t>
                      </a:r>
                    </a:p>
                  </a:txBody>
                  <a:tcPr marL="36576" marR="36576" marT="18288" marB="18288" anchor="ctr"/>
                </a:tc>
                <a:tc>
                  <a:txBody>
                    <a:bodyPr/>
                    <a:lstStyle/>
                    <a:p>
                      <a:pPr algn="ctr"/>
                      <a:r>
                        <a:rPr lang="en-US" sz="1200"/>
                        <a:t>18.13</a:t>
                      </a:r>
                    </a:p>
                  </a:txBody>
                  <a:tcPr marL="36576" marR="36576" marT="18288" marB="18288" anchor="ctr"/>
                </a:tc>
                <a:tc>
                  <a:txBody>
                    <a:bodyPr/>
                    <a:lstStyle/>
                    <a:p>
                      <a:pPr algn="ctr"/>
                      <a:r>
                        <a:rPr lang="en-US" sz="1200"/>
                        <a:t>14.09</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r>
                        <a:rPr lang="en-US" sz="1200"/>
                        <a:t>15</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extLst>
                  <a:ext uri="{0D108BD9-81ED-4DB2-BD59-A6C34878D82A}">
                    <a16:rowId xmlns:a16="http://schemas.microsoft.com/office/drawing/2014/main" val="3132008843"/>
                  </a:ext>
                </a:extLst>
              </a:tr>
              <a:tr h="66675">
                <a:tc>
                  <a:txBody>
                    <a:bodyPr/>
                    <a:lstStyle/>
                    <a:p>
                      <a:pPr algn="r"/>
                      <a:r>
                        <a:rPr lang="en-US" sz="1200" err="1"/>
                        <a:t>tRCD</a:t>
                      </a:r>
                      <a:r>
                        <a:rPr lang="en-US" sz="1200"/>
                        <a:t>[ns]</a:t>
                      </a:r>
                    </a:p>
                  </a:txBody>
                  <a:tcPr marL="36576" marR="36576" marT="18288" marB="18288" anchor="ctr"/>
                </a:tc>
                <a:tc>
                  <a:txBody>
                    <a:bodyPr/>
                    <a:lstStyle/>
                    <a:p>
                      <a:pPr marL="0" marR="0" lvl="0" indent="0" algn="ctr" defTabSz="11080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18.13</a:t>
                      </a:r>
                    </a:p>
                  </a:txBody>
                  <a:tcPr marL="36576" marR="36576" marT="18288" marB="18288" anchor="ctr"/>
                </a:tc>
                <a:tc>
                  <a:txBody>
                    <a:bodyPr/>
                    <a:lstStyle/>
                    <a:p>
                      <a:pPr algn="ctr"/>
                      <a:r>
                        <a:rPr lang="en-US" sz="1200"/>
                        <a:t>14.09</a:t>
                      </a:r>
                    </a:p>
                  </a:txBody>
                  <a:tcPr marL="36576" marR="36576" marT="18288" marB="18288" anchor="ctr"/>
                </a:tc>
                <a:tc>
                  <a:txBody>
                    <a:bodyPr/>
                    <a:lstStyle/>
                    <a:p>
                      <a:pPr algn="ctr"/>
                      <a:endParaRPr lang="en-US" sz="1200"/>
                    </a:p>
                  </a:txBody>
                  <a:tcPr marL="36576" marR="36576" marT="18288" marB="18288" anchor="ctr"/>
                </a:tc>
                <a:tc>
                  <a:txBody>
                    <a:bodyPr/>
                    <a:lstStyle/>
                    <a:p>
                      <a:pPr algn="ctr"/>
                      <a:r>
                        <a:rPr lang="en-US" sz="1200"/>
                        <a:t>12</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dirty="0"/>
                    </a:p>
                  </a:txBody>
                  <a:tcPr marL="36576" marR="36576" marT="18288" marB="18288" anchor="ctr"/>
                </a:tc>
                <a:tc>
                  <a:txBody>
                    <a:bodyPr/>
                    <a:lstStyle/>
                    <a:p>
                      <a:pPr algn="ctr"/>
                      <a:endParaRPr lang="en-US" sz="1200"/>
                    </a:p>
                  </a:txBody>
                  <a:tcPr marL="36576" marR="36576" marT="18288" marB="18288" anchor="ctr"/>
                </a:tc>
                <a:extLst>
                  <a:ext uri="{0D108BD9-81ED-4DB2-BD59-A6C34878D82A}">
                    <a16:rowId xmlns:a16="http://schemas.microsoft.com/office/drawing/2014/main" val="538553473"/>
                  </a:ext>
                </a:extLst>
              </a:tr>
              <a:tr h="66675">
                <a:tc>
                  <a:txBody>
                    <a:bodyPr/>
                    <a:lstStyle/>
                    <a:p>
                      <a:pPr algn="r"/>
                      <a:r>
                        <a:rPr lang="en-US" sz="1200" err="1"/>
                        <a:t>tRP</a:t>
                      </a:r>
                      <a:r>
                        <a:rPr lang="en-US" sz="1200"/>
                        <a:t>[ns]</a:t>
                      </a:r>
                    </a:p>
                  </a:txBody>
                  <a:tcPr marL="36576" marR="36576" marT="18288" marB="18288" anchor="ctr"/>
                </a:tc>
                <a:tc>
                  <a:txBody>
                    <a:bodyPr/>
                    <a:lstStyle/>
                    <a:p>
                      <a:pPr marL="0" marR="0" lvl="0" indent="0" algn="ctr" defTabSz="11080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18.13</a:t>
                      </a:r>
                    </a:p>
                  </a:txBody>
                  <a:tcPr marL="36576" marR="36576" marT="18288" marB="18288" anchor="ctr"/>
                </a:tc>
                <a:tc>
                  <a:txBody>
                    <a:bodyPr/>
                    <a:lstStyle/>
                    <a:p>
                      <a:pPr algn="ctr"/>
                      <a:r>
                        <a:rPr lang="en-US" sz="1200"/>
                        <a:t>14.09</a:t>
                      </a:r>
                    </a:p>
                  </a:txBody>
                  <a:tcPr marL="36576" marR="36576" marT="18288" marB="18288" anchor="ctr"/>
                </a:tc>
                <a:tc>
                  <a:txBody>
                    <a:bodyPr/>
                    <a:lstStyle/>
                    <a:p>
                      <a:pPr algn="ctr"/>
                      <a:r>
                        <a:rPr lang="en-US" sz="1200"/>
                        <a:t>15</a:t>
                      </a:r>
                    </a:p>
                  </a:txBody>
                  <a:tcPr marL="36576" marR="36576" marT="18288" marB="18288" anchor="ctr"/>
                </a:tc>
                <a:tc>
                  <a:txBody>
                    <a:bodyPr/>
                    <a:lstStyle/>
                    <a:p>
                      <a:pPr algn="ctr"/>
                      <a:r>
                        <a:rPr lang="en-US" sz="1200"/>
                        <a:t>12</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extLst>
                  <a:ext uri="{0D108BD9-81ED-4DB2-BD59-A6C34878D82A}">
                    <a16:rowId xmlns:a16="http://schemas.microsoft.com/office/drawing/2014/main" val="2330304708"/>
                  </a:ext>
                </a:extLst>
              </a:tr>
              <a:tr h="66675">
                <a:tc>
                  <a:txBody>
                    <a:bodyPr/>
                    <a:lstStyle/>
                    <a:p>
                      <a:pPr algn="r"/>
                      <a:r>
                        <a:rPr lang="en-US" sz="1200" err="1"/>
                        <a:t>tRAS</a:t>
                      </a:r>
                      <a:r>
                        <a:rPr lang="en-US" sz="1200"/>
                        <a:t>[ns]</a:t>
                      </a:r>
                    </a:p>
                  </a:txBody>
                  <a:tcPr marL="36576" marR="36576" marT="18288" marB="18288" anchor="ctr"/>
                </a:tc>
                <a:tc>
                  <a:txBody>
                    <a:bodyPr/>
                    <a:lstStyle/>
                    <a:p>
                      <a:pPr algn="ctr"/>
                      <a:r>
                        <a:rPr lang="en-US" sz="1200"/>
                        <a:t>42</a:t>
                      </a:r>
                    </a:p>
                  </a:txBody>
                  <a:tcPr marL="36576" marR="36576" marT="18288" marB="18288" anchor="ctr"/>
                </a:tc>
                <a:tc>
                  <a:txBody>
                    <a:bodyPr/>
                    <a:lstStyle/>
                    <a:p>
                      <a:pPr algn="ctr"/>
                      <a:r>
                        <a:rPr lang="en-US" sz="1200"/>
                        <a:t>32</a:t>
                      </a:r>
                    </a:p>
                  </a:txBody>
                  <a:tcPr marL="36576" marR="36576" marT="18288" marB="18288" anchor="ctr"/>
                </a:tc>
                <a:tc>
                  <a:txBody>
                    <a:bodyPr/>
                    <a:lstStyle/>
                    <a:p>
                      <a:pPr algn="ctr"/>
                      <a:r>
                        <a:rPr lang="en-US" sz="1200"/>
                        <a:t>33</a:t>
                      </a:r>
                    </a:p>
                  </a:txBody>
                  <a:tcPr marL="36576" marR="36576" marT="18288" marB="18288" anchor="ctr"/>
                </a:tc>
                <a:tc>
                  <a:txBody>
                    <a:bodyPr/>
                    <a:lstStyle/>
                    <a:p>
                      <a:pPr algn="ctr"/>
                      <a:r>
                        <a:rPr lang="en-US" sz="1200"/>
                        <a:t>13</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extLst>
                  <a:ext uri="{0D108BD9-81ED-4DB2-BD59-A6C34878D82A}">
                    <a16:rowId xmlns:a16="http://schemas.microsoft.com/office/drawing/2014/main" val="2143632227"/>
                  </a:ext>
                </a:extLst>
              </a:tr>
              <a:tr h="66675">
                <a:tc>
                  <a:txBody>
                    <a:bodyPr/>
                    <a:lstStyle/>
                    <a:p>
                      <a:pPr algn="r"/>
                      <a:r>
                        <a:rPr lang="en-US" sz="1200"/>
                        <a:t>CMD[ns]</a:t>
                      </a:r>
                    </a:p>
                  </a:txBody>
                  <a:tcPr marL="36576" marR="36576" marT="18288" marB="18288" anchor="ctr"/>
                </a:tc>
                <a:tc>
                  <a:txBody>
                    <a:bodyPr/>
                    <a:lstStyle/>
                    <a:p>
                      <a:pPr algn="ctr"/>
                      <a:r>
                        <a:rPr lang="en-US" sz="1200"/>
                        <a:t>1</a:t>
                      </a:r>
                    </a:p>
                  </a:txBody>
                  <a:tcPr marL="36576" marR="36576" marT="18288" marB="18288" anchor="ctr"/>
                </a:tc>
                <a:tc>
                  <a:txBody>
                    <a:bodyPr/>
                    <a:lstStyle/>
                    <a:p>
                      <a:pPr algn="ctr"/>
                      <a:r>
                        <a:rPr lang="en-US" sz="1200"/>
                        <a:t>1</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dirty="0"/>
                    </a:p>
                  </a:txBody>
                  <a:tcPr marL="36576" marR="36576" marT="18288" marB="18288" anchor="ctr"/>
                </a:tc>
                <a:extLst>
                  <a:ext uri="{0D108BD9-81ED-4DB2-BD59-A6C34878D82A}">
                    <a16:rowId xmlns:a16="http://schemas.microsoft.com/office/drawing/2014/main" val="64970049"/>
                  </a:ext>
                </a:extLst>
              </a:tr>
              <a:tr h="66675">
                <a:tc>
                  <a:txBody>
                    <a:bodyPr/>
                    <a:lstStyle/>
                    <a:p>
                      <a:pPr algn="r"/>
                      <a:r>
                        <a:rPr lang="en-US" sz="1200"/>
                        <a:t>Access cross bank </a:t>
                      </a:r>
                      <a:r>
                        <a:rPr lang="en-US" sz="1200" err="1"/>
                        <a:t>tCCD</a:t>
                      </a:r>
                      <a:r>
                        <a:rPr lang="en-US" sz="1200"/>
                        <a:t>[ns]</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r>
                        <a:rPr lang="en-US" sz="1200"/>
                        <a:t>2(S), 4(L) </a:t>
                      </a:r>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tc>
                  <a:txBody>
                    <a:bodyPr/>
                    <a:lstStyle/>
                    <a:p>
                      <a:pPr algn="ctr"/>
                      <a:endParaRPr lang="en-US" sz="1200"/>
                    </a:p>
                  </a:txBody>
                  <a:tcPr marL="36576" marR="36576" marT="18288" marB="18288" anchor="ctr"/>
                </a:tc>
                <a:extLst>
                  <a:ext uri="{0D108BD9-81ED-4DB2-BD59-A6C34878D82A}">
                    <a16:rowId xmlns:a16="http://schemas.microsoft.com/office/drawing/2014/main" val="1394306153"/>
                  </a:ext>
                </a:extLst>
              </a:tr>
              <a:tr h="66675">
                <a:tc>
                  <a:txBody>
                    <a:bodyPr/>
                    <a:lstStyle/>
                    <a:p>
                      <a:pPr algn="r"/>
                      <a:r>
                        <a:rPr lang="en-US" sz="1200"/>
                        <a:t>first access from a closed page  </a:t>
                      </a:r>
                      <a:r>
                        <a:rPr lang="en-US" sz="1200" err="1"/>
                        <a:t>tRCD+tCL</a:t>
                      </a:r>
                      <a:r>
                        <a:rPr lang="en-US" sz="1200"/>
                        <a:t> (or </a:t>
                      </a:r>
                      <a:r>
                        <a:rPr lang="en-US" sz="1200" err="1"/>
                        <a:t>tAA</a:t>
                      </a:r>
                      <a:r>
                        <a:rPr lang="en-US" sz="1200"/>
                        <a:t>) [ns]</a:t>
                      </a:r>
                    </a:p>
                  </a:txBody>
                  <a:tcPr marL="36576" marR="36576" marT="18288" marB="18288" anchor="ctr"/>
                </a:tc>
                <a:tc>
                  <a:txBody>
                    <a:bodyPr/>
                    <a:lstStyle/>
                    <a:p>
                      <a:pPr algn="ctr"/>
                      <a:r>
                        <a:rPr lang="en-US" sz="1200"/>
                        <a:t>36.25</a:t>
                      </a:r>
                    </a:p>
                  </a:txBody>
                  <a:tcPr marL="36576" marR="36576" marT="18288" marB="18288" anchor="ctr"/>
                </a:tc>
                <a:tc>
                  <a:txBody>
                    <a:bodyPr/>
                    <a:lstStyle/>
                    <a:p>
                      <a:pPr algn="ctr"/>
                      <a:r>
                        <a:rPr lang="en-US" sz="1200"/>
                        <a:t>28.18</a:t>
                      </a:r>
                    </a:p>
                  </a:txBody>
                  <a:tcPr marL="36576" marR="36576" marT="18288" marB="18288" anchor="ctr"/>
                </a:tc>
                <a:tc>
                  <a:txBody>
                    <a:bodyPr/>
                    <a:lstStyle/>
                    <a:p>
                      <a:pPr algn="ctr"/>
                      <a:r>
                        <a:rPr lang="en-US" sz="1200"/>
                        <a:t>32</a:t>
                      </a:r>
                    </a:p>
                  </a:txBody>
                  <a:tcPr marL="36576" marR="36576" marT="18288" marB="18288" anchor="ctr"/>
                </a:tc>
                <a:tc>
                  <a:txBody>
                    <a:bodyPr/>
                    <a:lstStyle/>
                    <a:p>
                      <a:pPr algn="ctr"/>
                      <a:endParaRPr lang="en-US" sz="1200"/>
                    </a:p>
                  </a:txBody>
                  <a:tcPr marL="36576" marR="36576" marT="18288" marB="18288" anchor="ctr"/>
                </a:tc>
                <a:tc>
                  <a:txBody>
                    <a:bodyPr/>
                    <a:lstStyle/>
                    <a:p>
                      <a:pPr algn="ctr"/>
                      <a:r>
                        <a:rPr lang="en-US" sz="1200" err="1"/>
                        <a:t>tRCR</a:t>
                      </a:r>
                      <a:r>
                        <a:rPr lang="en-US" sz="1200"/>
                        <a:t>  32</a:t>
                      </a:r>
                    </a:p>
                    <a:p>
                      <a:pPr algn="ctr"/>
                      <a:r>
                        <a:rPr lang="en-US" sz="1200"/>
                        <a:t> </a:t>
                      </a:r>
                      <a:r>
                        <a:rPr lang="en-US" sz="1200" err="1"/>
                        <a:t>tRCW</a:t>
                      </a:r>
                      <a:r>
                        <a:rPr lang="en-US" sz="1200"/>
                        <a:t> 28</a:t>
                      </a:r>
                    </a:p>
                  </a:txBody>
                  <a:tcPr marL="36576" marR="36576" marT="18288" marB="18288" anchor="ctr"/>
                </a:tc>
                <a:tc>
                  <a:txBody>
                    <a:bodyPr/>
                    <a:lstStyle/>
                    <a:p>
                      <a:pPr algn="ctr"/>
                      <a:r>
                        <a:rPr lang="en-US" sz="1200" dirty="0"/>
                        <a:t>32</a:t>
                      </a:r>
                    </a:p>
                  </a:txBody>
                  <a:tcPr marL="36576" marR="36576" marT="18288" marB="18288" anchor="ctr"/>
                </a:tc>
                <a:tc>
                  <a:txBody>
                    <a:bodyPr/>
                    <a:lstStyle/>
                    <a:p>
                      <a:pPr algn="ctr"/>
                      <a:r>
                        <a:rPr lang="en-US" sz="1200"/>
                        <a:t>20</a:t>
                      </a:r>
                    </a:p>
                  </a:txBody>
                  <a:tcPr marL="36576" marR="36576" marT="18288" marB="18288" anchor="ctr"/>
                </a:tc>
                <a:tc>
                  <a:txBody>
                    <a:bodyPr/>
                    <a:lstStyle/>
                    <a:p>
                      <a:pPr algn="ctr"/>
                      <a:r>
                        <a:rPr lang="en-US" sz="1200"/>
                        <a:t>13</a:t>
                      </a:r>
                    </a:p>
                  </a:txBody>
                  <a:tcPr marL="36576" marR="36576" marT="18288" marB="18288" anchor="ctr"/>
                </a:tc>
                <a:tc>
                  <a:txBody>
                    <a:bodyPr/>
                    <a:lstStyle/>
                    <a:p>
                      <a:pPr algn="ctr"/>
                      <a:endParaRPr lang="en-US" sz="1200"/>
                    </a:p>
                  </a:txBody>
                  <a:tcPr marL="36576" marR="36576" marT="18288" marB="18288" anchor="ctr"/>
                </a:tc>
                <a:extLst>
                  <a:ext uri="{0D108BD9-81ED-4DB2-BD59-A6C34878D82A}">
                    <a16:rowId xmlns:a16="http://schemas.microsoft.com/office/drawing/2014/main" val="2776629697"/>
                  </a:ext>
                </a:extLst>
              </a:tr>
              <a:tr h="0">
                <a:tc>
                  <a:txBody>
                    <a:bodyPr/>
                    <a:lstStyle/>
                    <a:p>
                      <a:pPr algn="r"/>
                      <a:r>
                        <a:rPr lang="en-US" sz="1200"/>
                        <a:t>Refresh Command or Active to Active: </a:t>
                      </a:r>
                      <a:r>
                        <a:rPr lang="en-US" sz="1200" err="1"/>
                        <a:t>tRC</a:t>
                      </a:r>
                      <a:r>
                        <a:rPr lang="en-US" sz="1200"/>
                        <a:t> = </a:t>
                      </a:r>
                      <a:r>
                        <a:rPr lang="en-US" sz="1200" err="1"/>
                        <a:t>tRP+tRAS</a:t>
                      </a:r>
                      <a:r>
                        <a:rPr lang="en-US" sz="1200"/>
                        <a:t> [ns]</a:t>
                      </a:r>
                    </a:p>
                  </a:txBody>
                  <a:tcPr marL="36576" marR="36576" marT="18288" marB="18288" anchor="ctr"/>
                </a:tc>
                <a:tc>
                  <a:txBody>
                    <a:bodyPr/>
                    <a:lstStyle/>
                    <a:p>
                      <a:pPr algn="ctr"/>
                      <a:r>
                        <a:rPr lang="en-US" sz="1200"/>
                        <a:t>63</a:t>
                      </a:r>
                    </a:p>
                  </a:txBody>
                  <a:tcPr marL="36576" marR="36576" marT="18288" marB="18288" anchor="ctr"/>
                </a:tc>
                <a:tc>
                  <a:txBody>
                    <a:bodyPr/>
                    <a:lstStyle/>
                    <a:p>
                      <a:pPr algn="ctr"/>
                      <a:r>
                        <a:rPr lang="en-US" sz="1200"/>
                        <a:t>46.09</a:t>
                      </a:r>
                    </a:p>
                  </a:txBody>
                  <a:tcPr marL="36576" marR="36576" marT="18288" marB="18288" anchor="ctr"/>
                </a:tc>
                <a:tc>
                  <a:txBody>
                    <a:bodyPr/>
                    <a:lstStyle/>
                    <a:p>
                      <a:pPr marL="0" marR="0" lvl="0" indent="0" algn="ctr" defTabSz="1108070" rtl="0" eaLnBrk="1" fontAlgn="auto" latinLnBrk="0" hangingPunct="1">
                        <a:lnSpc>
                          <a:spcPct val="100000"/>
                        </a:lnSpc>
                        <a:spcBef>
                          <a:spcPts val="0"/>
                        </a:spcBef>
                        <a:spcAft>
                          <a:spcPts val="0"/>
                        </a:spcAft>
                        <a:buClrTx/>
                        <a:buSzTx/>
                        <a:buFontTx/>
                        <a:buNone/>
                        <a:tabLst/>
                        <a:defRPr/>
                      </a:pPr>
                      <a:r>
                        <a:rPr lang="en-US" sz="1200"/>
                        <a:t>48</a:t>
                      </a:r>
                    </a:p>
                  </a:txBody>
                  <a:tcPr marL="36576" marR="36576" marT="18288" marB="18288" anchor="ctr"/>
                </a:tc>
                <a:tc>
                  <a:txBody>
                    <a:bodyPr/>
                    <a:lstStyle/>
                    <a:p>
                      <a:pPr marL="0" marR="0" lvl="0" indent="0" algn="ctr" defTabSz="1108070" rtl="0" eaLnBrk="1" fontAlgn="auto" latinLnBrk="0" hangingPunct="1">
                        <a:lnSpc>
                          <a:spcPct val="100000"/>
                        </a:lnSpc>
                        <a:spcBef>
                          <a:spcPts val="0"/>
                        </a:spcBef>
                        <a:spcAft>
                          <a:spcPts val="0"/>
                        </a:spcAft>
                        <a:buClrTx/>
                        <a:buSzTx/>
                        <a:buFontTx/>
                        <a:buNone/>
                        <a:tabLst/>
                        <a:defRPr/>
                      </a:pPr>
                      <a:r>
                        <a:rPr lang="en-US" sz="1200"/>
                        <a:t>25</a:t>
                      </a:r>
                    </a:p>
                  </a:txBody>
                  <a:tcPr marL="36576" marR="36576" marT="18288" marB="18288" anchor="ctr"/>
                </a:tc>
                <a:tc>
                  <a:txBody>
                    <a:bodyPr/>
                    <a:lstStyle/>
                    <a:p>
                      <a:pPr algn="ctr"/>
                      <a:r>
                        <a:rPr lang="en-US" sz="1200" dirty="0" err="1"/>
                        <a:t>Elim’d</a:t>
                      </a:r>
                      <a:r>
                        <a:rPr lang="en-US" sz="1200" dirty="0"/>
                        <a:t> to save </a:t>
                      </a:r>
                      <a:r>
                        <a:rPr lang="en-US" sz="1200" dirty="0" err="1"/>
                        <a:t>pwr</a:t>
                      </a:r>
                      <a:endParaRPr lang="en-US" sz="1200" dirty="0"/>
                    </a:p>
                  </a:txBody>
                  <a:tcPr marL="36576" marR="36576" marT="18288" marB="18288" anchor="ctr"/>
                </a:tc>
                <a:tc>
                  <a:txBody>
                    <a:bodyPr/>
                    <a:lstStyle/>
                    <a:p>
                      <a:pPr algn="ctr"/>
                      <a:r>
                        <a:rPr lang="en-US" sz="1200"/>
                        <a:t>40</a:t>
                      </a:r>
                    </a:p>
                  </a:txBody>
                  <a:tcPr marL="36576" marR="36576" marT="18288" marB="18288" anchor="ctr"/>
                </a:tc>
                <a:tc>
                  <a:txBody>
                    <a:bodyPr/>
                    <a:lstStyle/>
                    <a:p>
                      <a:pPr algn="ctr"/>
                      <a:r>
                        <a:rPr lang="en-US" sz="1200"/>
                        <a:t>30</a:t>
                      </a:r>
                    </a:p>
                  </a:txBody>
                  <a:tcPr marL="36576" marR="36576" marT="18288" marB="18288" anchor="ctr"/>
                </a:tc>
                <a:tc>
                  <a:txBody>
                    <a:bodyPr/>
                    <a:lstStyle/>
                    <a:p>
                      <a:pPr algn="ctr"/>
                      <a:endParaRPr lang="en-US" sz="1200" dirty="0"/>
                    </a:p>
                  </a:txBody>
                  <a:tcPr marL="36576" marR="36576" marT="18288" marB="18288" anchor="ctr"/>
                </a:tc>
                <a:tc>
                  <a:txBody>
                    <a:bodyPr/>
                    <a:lstStyle/>
                    <a:p>
                      <a:pPr algn="ctr"/>
                      <a:r>
                        <a:rPr lang="en-US" sz="1200" dirty="0" err="1"/>
                        <a:t>tRCR</a:t>
                      </a:r>
                      <a:r>
                        <a:rPr lang="en-US" sz="1200" dirty="0"/>
                        <a:t> 4.375</a:t>
                      </a:r>
                    </a:p>
                    <a:p>
                      <a:pPr algn="ctr"/>
                      <a:r>
                        <a:rPr lang="en-US" sz="1200" dirty="0" err="1"/>
                        <a:t>tRCW</a:t>
                      </a:r>
                      <a:r>
                        <a:rPr lang="en-US" sz="1200" dirty="0"/>
                        <a:t> 2.5</a:t>
                      </a:r>
                    </a:p>
                  </a:txBody>
                  <a:tcPr marL="36576" marR="36576" marT="18288" marB="18288" anchor="ctr"/>
                </a:tc>
                <a:extLst>
                  <a:ext uri="{0D108BD9-81ED-4DB2-BD59-A6C34878D82A}">
                    <a16:rowId xmlns:a16="http://schemas.microsoft.com/office/drawing/2014/main" val="89122582"/>
                  </a:ext>
                </a:extLst>
              </a:tr>
            </a:tbl>
          </a:graphicData>
        </a:graphic>
      </p:graphicFrame>
      <p:sp>
        <p:nvSpPr>
          <p:cNvPr id="4" name="TextBox 3">
            <a:extLst>
              <a:ext uri="{FF2B5EF4-FFF2-40B4-BE49-F238E27FC236}">
                <a16:creationId xmlns:a16="http://schemas.microsoft.com/office/drawing/2014/main" id="{B89BF2EE-CCA4-7061-E40F-C3456AE8C475}"/>
              </a:ext>
            </a:extLst>
          </p:cNvPr>
          <p:cNvSpPr txBox="1"/>
          <p:nvPr/>
        </p:nvSpPr>
        <p:spPr>
          <a:xfrm>
            <a:off x="2131974" y="6169165"/>
            <a:ext cx="9907626" cy="369332"/>
          </a:xfrm>
          <a:prstGeom prst="rect">
            <a:avLst/>
          </a:prstGeom>
          <a:noFill/>
        </p:spPr>
        <p:txBody>
          <a:bodyPr wrap="square" rtlCol="0">
            <a:spAutoFit/>
          </a:bodyPr>
          <a:lstStyle/>
          <a:p>
            <a:r>
              <a:rPr lang="en-US" sz="900">
                <a:latin typeface="Calibri" panose="020F0502020204030204" pitchFamily="34" charset="0"/>
                <a:cs typeface="Calibri" panose="020F0502020204030204" pitchFamily="34" charset="0"/>
              </a:rPr>
              <a:t>Samsung LLW: Unlike conventional DDR DRAM, LLW DRAM uses a closed-page operation in which precise relationship between RAS and CAS events in known and  single Read or Write commands triggers the whole sequence of events. Therefore, clock gating approach on LLW DRAM design can be optimized to only turn on/off  various circuits and clocks during the precise time they are needed to save power.</a:t>
            </a:r>
          </a:p>
        </p:txBody>
      </p:sp>
      <p:pic>
        <p:nvPicPr>
          <p:cNvPr id="8" name="Picture 7">
            <a:extLst>
              <a:ext uri="{FF2B5EF4-FFF2-40B4-BE49-F238E27FC236}">
                <a16:creationId xmlns:a16="http://schemas.microsoft.com/office/drawing/2014/main" id="{5D41A17E-F0F7-6066-0313-19E25FEBD372}"/>
              </a:ext>
            </a:extLst>
          </p:cNvPr>
          <p:cNvPicPr>
            <a:picLocks noChangeAspect="1"/>
          </p:cNvPicPr>
          <p:nvPr/>
        </p:nvPicPr>
        <p:blipFill>
          <a:blip r:embed="rId3"/>
          <a:stretch>
            <a:fillRect/>
          </a:stretch>
        </p:blipFill>
        <p:spPr>
          <a:xfrm>
            <a:off x="98361" y="3908565"/>
            <a:ext cx="2692400" cy="2260600"/>
          </a:xfrm>
          <a:prstGeom prst="rect">
            <a:avLst/>
          </a:prstGeom>
        </p:spPr>
      </p:pic>
    </p:spTree>
    <p:extLst>
      <p:ext uri="{BB962C8B-B14F-4D97-AF65-F5344CB8AC3E}">
        <p14:creationId xmlns:p14="http://schemas.microsoft.com/office/powerpoint/2010/main" val="3573756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0C7EB-82EA-2F44-9CE6-85D3359A96E6}"/>
              </a:ext>
            </a:extLst>
          </p:cNvPr>
          <p:cNvSpPr>
            <a:spLocks noGrp="1"/>
          </p:cNvSpPr>
          <p:nvPr>
            <p:ph type="ctrTitle"/>
          </p:nvPr>
        </p:nvSpPr>
        <p:spPr/>
        <p:txBody>
          <a:bodyPr/>
          <a:lstStyle/>
          <a:p>
            <a:r>
              <a:rPr lang="en-US" dirty="0"/>
              <a:t>Memory Technology</a:t>
            </a:r>
          </a:p>
        </p:txBody>
      </p:sp>
      <p:sp>
        <p:nvSpPr>
          <p:cNvPr id="3" name="Subtitle 2">
            <a:extLst>
              <a:ext uri="{FF2B5EF4-FFF2-40B4-BE49-F238E27FC236}">
                <a16:creationId xmlns:a16="http://schemas.microsoft.com/office/drawing/2014/main" id="{4DEDCBA4-DD72-584F-A76E-6BB7A0CFAF7D}"/>
              </a:ext>
            </a:extLst>
          </p:cNvPr>
          <p:cNvSpPr>
            <a:spLocks noGrp="1"/>
          </p:cNvSpPr>
          <p:nvPr>
            <p:ph type="subTitle" idx="1"/>
          </p:nvPr>
        </p:nvSpPr>
        <p:spPr/>
        <p:txBody>
          <a:bodyPr/>
          <a:lstStyle/>
          <a:p>
            <a:r>
              <a:rPr lang="en-US" dirty="0"/>
              <a:t>DerChang Kau, Nov/27/’23</a:t>
            </a:r>
          </a:p>
        </p:txBody>
      </p:sp>
      <p:sp>
        <p:nvSpPr>
          <p:cNvPr id="4" name="Content Placeholder 3">
            <a:extLst>
              <a:ext uri="{FF2B5EF4-FFF2-40B4-BE49-F238E27FC236}">
                <a16:creationId xmlns:a16="http://schemas.microsoft.com/office/drawing/2014/main" id="{BD877467-4947-834F-B23F-CD8D4BF05E06}"/>
              </a:ext>
            </a:extLst>
          </p:cNvPr>
          <p:cNvSpPr>
            <a:spLocks noGrp="1"/>
          </p:cNvSpPr>
          <p:nvPr>
            <p:ph idx="10"/>
          </p:nvPr>
        </p:nvSpPr>
        <p:spPr>
          <a:xfrm>
            <a:off x="1447800" y="2133600"/>
            <a:ext cx="9372600" cy="3255981"/>
          </a:xfrm>
        </p:spPr>
        <p:txBody>
          <a:bodyPr/>
          <a:lstStyle/>
          <a:p>
            <a:r>
              <a:rPr lang="en-US" sz="3200" dirty="0"/>
              <a:t>Memory Technology</a:t>
            </a:r>
            <a:br>
              <a:rPr lang="en-US" sz="3200" dirty="0"/>
            </a:br>
            <a:r>
              <a:rPr lang="en-US" sz="3200" dirty="0"/>
              <a:t>	Construct in System hierarchy</a:t>
            </a:r>
          </a:p>
          <a:p>
            <a:r>
              <a:rPr lang="en-US" sz="3200" dirty="0"/>
              <a:t>Generalized Control Access</a:t>
            </a:r>
            <a:br>
              <a:rPr lang="en-US" sz="3200" dirty="0"/>
            </a:br>
            <a:r>
              <a:rPr lang="en-US" sz="3200" dirty="0"/>
              <a:t>	 Model in Memory Semantics</a:t>
            </a:r>
          </a:p>
          <a:p>
            <a:r>
              <a:rPr lang="en-US" sz="3200" dirty="0"/>
              <a:t>Benchmark</a:t>
            </a:r>
          </a:p>
        </p:txBody>
      </p:sp>
    </p:spTree>
    <p:extLst>
      <p:ext uri="{BB962C8B-B14F-4D97-AF65-F5344CB8AC3E}">
        <p14:creationId xmlns:p14="http://schemas.microsoft.com/office/powerpoint/2010/main" val="5711996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AC62020-5653-E3DB-259C-D255A324DCCB}"/>
              </a:ext>
            </a:extLst>
          </p:cNvPr>
          <p:cNvPicPr>
            <a:picLocks noChangeAspect="1"/>
          </p:cNvPicPr>
          <p:nvPr/>
        </p:nvPicPr>
        <p:blipFill>
          <a:blip r:embed="rId2"/>
          <a:stretch>
            <a:fillRect/>
          </a:stretch>
        </p:blipFill>
        <p:spPr>
          <a:xfrm>
            <a:off x="941407" y="996949"/>
            <a:ext cx="5086149" cy="5441327"/>
          </a:xfrm>
          <a:prstGeom prst="rect">
            <a:avLst/>
          </a:prstGeom>
        </p:spPr>
      </p:pic>
      <p:pic>
        <p:nvPicPr>
          <p:cNvPr id="4" name="Picture 3">
            <a:extLst>
              <a:ext uri="{FF2B5EF4-FFF2-40B4-BE49-F238E27FC236}">
                <a16:creationId xmlns:a16="http://schemas.microsoft.com/office/drawing/2014/main" id="{766B5CEC-CA81-45F9-53F0-80020495411C}"/>
              </a:ext>
            </a:extLst>
          </p:cNvPr>
          <p:cNvPicPr>
            <a:picLocks noChangeAspect="1"/>
          </p:cNvPicPr>
          <p:nvPr/>
        </p:nvPicPr>
        <p:blipFill>
          <a:blip r:embed="rId3"/>
          <a:stretch>
            <a:fillRect/>
          </a:stretch>
        </p:blipFill>
        <p:spPr>
          <a:xfrm>
            <a:off x="6427808" y="996950"/>
            <a:ext cx="5230792" cy="4919436"/>
          </a:xfrm>
          <a:prstGeom prst="rect">
            <a:avLst/>
          </a:prstGeom>
        </p:spPr>
      </p:pic>
      <p:sp>
        <p:nvSpPr>
          <p:cNvPr id="5" name="Title 4">
            <a:extLst>
              <a:ext uri="{FF2B5EF4-FFF2-40B4-BE49-F238E27FC236}">
                <a16:creationId xmlns:a16="http://schemas.microsoft.com/office/drawing/2014/main" id="{F5CF99BA-A362-5B7D-160F-5C5CB7C5B42C}"/>
              </a:ext>
            </a:extLst>
          </p:cNvPr>
          <p:cNvSpPr>
            <a:spLocks noGrp="1"/>
          </p:cNvSpPr>
          <p:nvPr>
            <p:ph type="title"/>
          </p:nvPr>
        </p:nvSpPr>
        <p:spPr/>
        <p:txBody>
          <a:bodyPr/>
          <a:lstStyle/>
          <a:p>
            <a:r>
              <a:rPr lang="en-US" sz="3200"/>
              <a:t>HBM3 JEDEC Spec</a:t>
            </a:r>
          </a:p>
        </p:txBody>
      </p:sp>
    </p:spTree>
    <p:extLst>
      <p:ext uri="{BB962C8B-B14F-4D97-AF65-F5344CB8AC3E}">
        <p14:creationId xmlns:p14="http://schemas.microsoft.com/office/powerpoint/2010/main" val="18592112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856D03F-F2C6-4426-B326-3097B6369D7D}"/>
              </a:ext>
            </a:extLst>
          </p:cNvPr>
          <p:cNvSpPr txBox="1"/>
          <p:nvPr/>
        </p:nvSpPr>
        <p:spPr>
          <a:xfrm>
            <a:off x="3155002" y="6472006"/>
            <a:ext cx="6833823" cy="316420"/>
          </a:xfrm>
          <a:prstGeom prst="rect">
            <a:avLst/>
          </a:prstGeom>
          <a:solidFill>
            <a:srgbClr val="0068B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96115"/>
                </a:solidFill>
                <a:effectLst/>
                <a:uLnTx/>
                <a:uFillTx/>
                <a:latin typeface="IntelOne Display Regular"/>
                <a:ea typeface="Helvetica Neue"/>
                <a:cs typeface="Helvetica Neue"/>
              </a:rPr>
              <a:t>Data shared under CNDA 30991112 &amp; CNDA 112784</a:t>
            </a:r>
          </a:p>
        </p:txBody>
      </p:sp>
      <p:sp>
        <p:nvSpPr>
          <p:cNvPr id="4" name="Title 1">
            <a:extLst>
              <a:ext uri="{FF2B5EF4-FFF2-40B4-BE49-F238E27FC236}">
                <a16:creationId xmlns:a16="http://schemas.microsoft.com/office/drawing/2014/main" id="{EC04A469-045E-4F17-A3BC-4C9D8822F486}"/>
              </a:ext>
            </a:extLst>
          </p:cNvPr>
          <p:cNvSpPr>
            <a:spLocks noGrp="1"/>
          </p:cNvSpPr>
          <p:nvPr>
            <p:ph type="title"/>
          </p:nvPr>
        </p:nvSpPr>
        <p:spPr>
          <a:xfrm>
            <a:off x="242545" y="11613"/>
            <a:ext cx="10972800" cy="895009"/>
          </a:xfrm>
        </p:spPr>
        <p:txBody>
          <a:bodyPr>
            <a:normAutofit/>
          </a:bodyPr>
          <a:lstStyle/>
          <a:p>
            <a:r>
              <a:rPr lang="en-US" sz="3200"/>
              <a:t>TCD macro key metrics (High Bandwidth)</a:t>
            </a:r>
            <a:endParaRPr lang="en-US" sz="3200">
              <a:solidFill>
                <a:srgbClr val="FFFF00"/>
              </a:solidFill>
            </a:endParaRPr>
          </a:p>
        </p:txBody>
      </p:sp>
      <p:graphicFrame>
        <p:nvGraphicFramePr>
          <p:cNvPr id="10" name="표 7">
            <a:extLst>
              <a:ext uri="{FF2B5EF4-FFF2-40B4-BE49-F238E27FC236}">
                <a16:creationId xmlns:a16="http://schemas.microsoft.com/office/drawing/2014/main" id="{2CDEB6FF-389D-41F9-AED3-08A2BB30BEE2}"/>
              </a:ext>
            </a:extLst>
          </p:cNvPr>
          <p:cNvGraphicFramePr>
            <a:graphicFrameLocks noGrp="1"/>
          </p:cNvGraphicFramePr>
          <p:nvPr/>
        </p:nvGraphicFramePr>
        <p:xfrm>
          <a:off x="3954502" y="795107"/>
          <a:ext cx="7706168" cy="5303520"/>
        </p:xfrm>
        <a:graphic>
          <a:graphicData uri="http://schemas.openxmlformats.org/drawingml/2006/table">
            <a:tbl>
              <a:tblPr firstRow="1" bandRow="1"/>
              <a:tblGrid>
                <a:gridCol w="1608264">
                  <a:extLst>
                    <a:ext uri="{9D8B030D-6E8A-4147-A177-3AD203B41FA5}">
                      <a16:colId xmlns:a16="http://schemas.microsoft.com/office/drawing/2014/main" val="667046298"/>
                    </a:ext>
                  </a:extLst>
                </a:gridCol>
                <a:gridCol w="1642874">
                  <a:extLst>
                    <a:ext uri="{9D8B030D-6E8A-4147-A177-3AD203B41FA5}">
                      <a16:colId xmlns:a16="http://schemas.microsoft.com/office/drawing/2014/main" val="3903014150"/>
                    </a:ext>
                  </a:extLst>
                </a:gridCol>
                <a:gridCol w="1552288">
                  <a:extLst>
                    <a:ext uri="{9D8B030D-6E8A-4147-A177-3AD203B41FA5}">
                      <a16:colId xmlns:a16="http://schemas.microsoft.com/office/drawing/2014/main" val="3862591744"/>
                    </a:ext>
                  </a:extLst>
                </a:gridCol>
                <a:gridCol w="1451371">
                  <a:extLst>
                    <a:ext uri="{9D8B030D-6E8A-4147-A177-3AD203B41FA5}">
                      <a16:colId xmlns:a16="http://schemas.microsoft.com/office/drawing/2014/main" val="318849347"/>
                    </a:ext>
                  </a:extLst>
                </a:gridCol>
                <a:gridCol w="1451371">
                  <a:extLst>
                    <a:ext uri="{9D8B030D-6E8A-4147-A177-3AD203B41FA5}">
                      <a16:colId xmlns:a16="http://schemas.microsoft.com/office/drawing/2014/main" val="3461528361"/>
                    </a:ext>
                  </a:extLst>
                </a:gridCol>
              </a:tblGrid>
              <a:tr h="318209">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b="1" baseline="0">
                          <a:solidFill>
                            <a:schemeClr val="tx1"/>
                          </a:solidFill>
                        </a:rPr>
                        <a:t>Parameters \tech.</a:t>
                      </a:r>
                      <a:endParaRPr lang="ko-KR" altLang="en-US" sz="1400" b="1">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b="1">
                          <a:solidFill>
                            <a:schemeClr val="tx1"/>
                          </a:solidFill>
                        </a:rPr>
                        <a:t>2Gb</a:t>
                      </a:r>
                      <a:r>
                        <a:rPr lang="en-US" altLang="ko-KR" sz="1400" b="1" baseline="0">
                          <a:solidFill>
                            <a:schemeClr val="tx1"/>
                          </a:solidFill>
                        </a:rPr>
                        <a:t> Macro* </a:t>
                      </a:r>
                      <a:r>
                        <a:rPr lang="en-US" altLang="ko-KR" sz="1400" b="1">
                          <a:solidFill>
                            <a:schemeClr val="tx1"/>
                          </a:solidFill>
                        </a:rPr>
                        <a:t>(1znm)</a:t>
                      </a:r>
                      <a:endParaRPr lang="ko-KR" altLang="en-US" sz="1400" b="1">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b="1">
                          <a:solidFill>
                            <a:schemeClr val="tx1"/>
                          </a:solidFill>
                        </a:rPr>
                        <a:t>2Gb Macro* (1bnm)</a:t>
                      </a:r>
                      <a:endParaRPr lang="ko-KR" altLang="en-US" sz="1400" b="1">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b="1" kern="1200">
                          <a:solidFill>
                            <a:schemeClr val="tx1"/>
                          </a:solidFill>
                          <a:latin typeface="Calibri"/>
                          <a:ea typeface="calibri"/>
                          <a:cs typeface="+mn-cs"/>
                        </a:rPr>
                        <a:t>16Gb HBM2E (1ynm)</a:t>
                      </a:r>
                      <a:endParaRPr lang="ko-KR" altLang="en-US" sz="1400" b="1" kern="1200">
                        <a:solidFill>
                          <a:schemeClr val="tx1"/>
                        </a:solidFill>
                        <a:latin typeface="Calibri"/>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b="1" kern="1200">
                          <a:solidFill>
                            <a:schemeClr val="tx1"/>
                          </a:solidFill>
                          <a:latin typeface="Calibri"/>
                          <a:ea typeface="calibri"/>
                          <a:cs typeface="+mn-cs"/>
                        </a:rPr>
                        <a:t>16Gb HBM3 (1znm)</a:t>
                      </a:r>
                      <a:endParaRPr lang="ko-KR" altLang="en-US" sz="1400" b="1" kern="1200">
                        <a:solidFill>
                          <a:schemeClr val="tx1"/>
                        </a:solidFill>
                        <a:latin typeface="Calibri"/>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269773988"/>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400" kern="1200">
                          <a:solidFill>
                            <a:schemeClr val="bg2">
                              <a:lumMod val="75000"/>
                            </a:schemeClr>
                          </a:solidFill>
                          <a:latin typeface="+mn-lt"/>
                          <a:ea typeface="calibri"/>
                          <a:cs typeface="+mn-cs"/>
                        </a:rPr>
                        <a:t>Density/mm2</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accent3">
                              <a:lumMod val="75000"/>
                            </a:schemeClr>
                          </a:solidFill>
                          <a:latin typeface="+mn-lt"/>
                        </a:rPr>
                        <a:t>16MB/mm</a:t>
                      </a:r>
                      <a:r>
                        <a:rPr lang="en-US" altLang="ko-KR" sz="1400" baseline="30000">
                          <a:solidFill>
                            <a:schemeClr val="accent3">
                              <a:lumMod val="75000"/>
                            </a:schemeClr>
                          </a:solidFill>
                          <a:latin typeface="+mn-lt"/>
                        </a:rPr>
                        <a:t>2</a:t>
                      </a:r>
                      <a:endParaRPr lang="ko-KR" altLang="en-US" sz="1400">
                        <a:solidFill>
                          <a:schemeClr val="accent3">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rgbClr val="00B050"/>
                          </a:solidFill>
                          <a:latin typeface="+mn-lt"/>
                        </a:rPr>
                        <a:t>21.12</a:t>
                      </a:r>
                      <a:r>
                        <a:rPr lang="en-US" altLang="ko-KR" sz="1400" kern="1200">
                          <a:solidFill>
                            <a:srgbClr val="00B050"/>
                          </a:solidFill>
                          <a:latin typeface="Calibri"/>
                          <a:ea typeface="calibri"/>
                          <a:cs typeface="+mn-cs"/>
                        </a:rPr>
                        <a:t>MB/mm</a:t>
                      </a:r>
                      <a:r>
                        <a:rPr lang="en-US" altLang="ko-KR" sz="1400" kern="1200" baseline="30000">
                          <a:solidFill>
                            <a:srgbClr val="00B050"/>
                          </a:solidFill>
                          <a:latin typeface="Calibri"/>
                          <a:ea typeface="calibri"/>
                          <a:cs typeface="+mn-cs"/>
                        </a:rPr>
                        <a:t>2</a:t>
                      </a:r>
                      <a:endParaRPr lang="ko-KR" altLang="en-US" sz="1400">
                        <a:solidFill>
                          <a:srgbClr val="00B050"/>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9.66</a:t>
                      </a:r>
                      <a:r>
                        <a:rPr lang="en-US" altLang="ko-KR" sz="1400">
                          <a:solidFill>
                            <a:schemeClr val="bg1">
                              <a:lumMod val="50000"/>
                            </a:schemeClr>
                          </a:solidFill>
                          <a:latin typeface="+mn-lt"/>
                        </a:rPr>
                        <a:t>MB/mm</a:t>
                      </a:r>
                      <a:r>
                        <a:rPr lang="en-US" altLang="ko-KR" sz="1400" baseline="30000">
                          <a:solidFill>
                            <a:schemeClr val="bg1">
                              <a:lumMod val="50000"/>
                            </a:schemeClr>
                          </a:solidFill>
                          <a:latin typeface="+mn-lt"/>
                        </a:rPr>
                        <a:t>2</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7.8</a:t>
                      </a:r>
                      <a:r>
                        <a:rPr lang="en-US" altLang="ko-KR" sz="1400">
                          <a:solidFill>
                            <a:schemeClr val="bg1">
                              <a:lumMod val="50000"/>
                            </a:schemeClr>
                          </a:solidFill>
                          <a:latin typeface="+mn-lt"/>
                        </a:rPr>
                        <a:t>MB/mm</a:t>
                      </a:r>
                      <a:r>
                        <a:rPr lang="en-US" altLang="ko-KR" sz="1400" baseline="30000">
                          <a:solidFill>
                            <a:schemeClr val="bg1">
                              <a:lumMod val="50000"/>
                            </a:schemeClr>
                          </a:solidFill>
                          <a:latin typeface="+mn-lt"/>
                        </a:rPr>
                        <a:t>2</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019017034"/>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 Channel</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chemeClr val="bg1">
                              <a:lumMod val="50000"/>
                            </a:schemeClr>
                          </a:solidFill>
                          <a:latin typeface="+mn-lt"/>
                        </a:rPr>
                        <a:t>8</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8</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highlight>
                            <a:srgbClr val="FFFF00"/>
                          </a:highlight>
                          <a:latin typeface="+mn-lt"/>
                          <a:ea typeface="calibri"/>
                          <a:cs typeface="+mn-cs"/>
                        </a:rPr>
                        <a:t>16?</a:t>
                      </a:r>
                      <a:endParaRPr lang="ko-KR" altLang="en-US" sz="1400" kern="1200">
                        <a:solidFill>
                          <a:schemeClr val="bg1">
                            <a:lumMod val="50000"/>
                          </a:schemeClr>
                        </a:solidFill>
                        <a:highlight>
                          <a:srgbClr val="FFFF00"/>
                        </a:highlight>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4195713994"/>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 pre-fetch/</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chemeClr val="bg1">
                              <a:lumMod val="50000"/>
                            </a:schemeClr>
                          </a:solidFill>
                          <a:latin typeface="+mn-lt"/>
                        </a:rPr>
                        <a:t>512b</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024b</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618125851"/>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Page Size/</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chemeClr val="bg1">
                              <a:lumMod val="50000"/>
                            </a:schemeClr>
                          </a:solidFill>
                          <a:latin typeface="+mn-lt"/>
                        </a:rPr>
                        <a:t>0.5KB</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1KB</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TBD</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3355873666"/>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 Bank/</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rPr>
                        <a:t>8</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32</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480859334"/>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err="1">
                          <a:solidFill>
                            <a:schemeClr val="bg2">
                              <a:lumMod val="75000"/>
                            </a:schemeClr>
                          </a:solidFill>
                          <a:latin typeface="+mn-lt"/>
                          <a:ea typeface="calibri"/>
                          <a:cs typeface="+mn-cs"/>
                        </a:rPr>
                        <a:t>tCCD</a:t>
                      </a:r>
                      <a:r>
                        <a:rPr lang="en-US" altLang="ko-KR" sz="1400" kern="1200" baseline="0">
                          <a:solidFill>
                            <a:schemeClr val="bg2">
                              <a:lumMod val="75000"/>
                            </a:schemeClr>
                          </a:solidFill>
                          <a:latin typeface="+mn-lt"/>
                          <a:ea typeface="calibri"/>
                          <a:cs typeface="+mn-cs"/>
                        </a:rPr>
                        <a:t> target</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chemeClr val="accent3">
                              <a:lumMod val="75000"/>
                            </a:schemeClr>
                          </a:solidFill>
                          <a:latin typeface="+mn-lt"/>
                        </a:rPr>
                        <a:t>4ns</a:t>
                      </a:r>
                      <a:endParaRPr lang="ko-KR" altLang="en-US" sz="1400">
                        <a:solidFill>
                          <a:schemeClr val="accent3">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2.5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highlight>
                            <a:srgbClr val="FFFF00"/>
                          </a:highlight>
                          <a:latin typeface="+mn-lt"/>
                          <a:sym typeface="Wingdings" panose="05000000000000000000" pitchFamily="2" charset="2"/>
                        </a:rPr>
                        <a:t>1.25ns?</a:t>
                      </a:r>
                      <a:endParaRPr lang="ko-KR" altLang="en-US" sz="1400">
                        <a:solidFill>
                          <a:schemeClr val="bg1">
                            <a:lumMod val="50000"/>
                          </a:schemeClr>
                        </a:solidFill>
                        <a:highlight>
                          <a:srgbClr val="FFFF00"/>
                        </a:highlight>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39764128"/>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BW/</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rPr>
                        <a:t>16GB/s</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51.2GB/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02.4GB/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3477832402"/>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Total BW</a:t>
                      </a:r>
                      <a:r>
                        <a:rPr lang="en-US" altLang="ko-KR" sz="1400" kern="1200" baseline="0">
                          <a:solidFill>
                            <a:schemeClr val="bg2">
                              <a:lumMod val="75000"/>
                            </a:schemeClr>
                          </a:solidFill>
                          <a:latin typeface="+mn-lt"/>
                          <a:ea typeface="calibri"/>
                          <a:cs typeface="+mn-cs"/>
                        </a:rPr>
                        <a:t> (per 1GB)</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a:r>
                        <a:rPr lang="en-US" altLang="ko-KR" sz="1400">
                          <a:solidFill>
                            <a:srgbClr val="00B050"/>
                          </a:solidFill>
                        </a:rPr>
                        <a:t>512GB/s</a:t>
                      </a:r>
                      <a:endParaRPr lang="ko-KR" altLang="en-US" sz="1400">
                        <a:solidFill>
                          <a:srgbClr val="00B05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51.2GB/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02.4GB/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970579449"/>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400" kern="1200" err="1">
                          <a:solidFill>
                            <a:schemeClr val="bg2">
                              <a:lumMod val="75000"/>
                            </a:schemeClr>
                          </a:solidFill>
                          <a:latin typeface="+mn-lt"/>
                          <a:ea typeface="calibri"/>
                          <a:cs typeface="+mn-cs"/>
                        </a:rPr>
                        <a:t>pj</a:t>
                      </a:r>
                      <a:r>
                        <a:rPr lang="en-US" altLang="ko-KR" sz="1400" kern="1200">
                          <a:solidFill>
                            <a:schemeClr val="bg2">
                              <a:lumMod val="75000"/>
                            </a:schemeClr>
                          </a:solidFill>
                          <a:latin typeface="+mn-lt"/>
                          <a:ea typeface="calibri"/>
                          <a:cs typeface="+mn-cs"/>
                        </a:rPr>
                        <a:t>/bit </a:t>
                      </a:r>
                      <a:r>
                        <a:rPr lang="en-US" altLang="ko-KR" sz="1400" b="1" kern="1200" baseline="30000">
                          <a:solidFill>
                            <a:srgbClr val="FF0000"/>
                          </a:solidFill>
                          <a:latin typeface="+mn-lt"/>
                          <a:ea typeface="calibri"/>
                          <a:cs typeface="+mn-cs"/>
                        </a:rPr>
                        <a:t>1</a:t>
                      </a:r>
                      <a:endParaRPr lang="ko-KR" altLang="en-US" sz="1400" b="1" kern="1200" baseline="30000">
                        <a:solidFill>
                          <a:srgbClr val="FF000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rgbClr val="00B050"/>
                          </a:solidFill>
                          <a:latin typeface="+mn-lt"/>
                        </a:rPr>
                        <a:t>~1.5</a:t>
                      </a:r>
                      <a:endParaRPr lang="ko-KR" altLang="en-US" sz="1400">
                        <a:solidFill>
                          <a:srgbClr val="00B050"/>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5.2</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highlight>
                            <a:srgbClr val="FFFF00"/>
                          </a:highlight>
                          <a:latin typeface="+mn-lt"/>
                          <a:ea typeface="calibri"/>
                          <a:cs typeface="+mn-cs"/>
                        </a:rPr>
                        <a:t>~3-4?</a:t>
                      </a:r>
                      <a:endParaRPr lang="ko-KR" altLang="en-US" sz="1400" kern="1200">
                        <a:solidFill>
                          <a:schemeClr val="bg1">
                            <a:lumMod val="50000"/>
                          </a:schemeClr>
                        </a:solidFill>
                        <a:highlight>
                          <a:srgbClr val="FFFF00"/>
                        </a:highlight>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154348456"/>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200" kern="1200">
                          <a:solidFill>
                            <a:schemeClr val="bg2">
                              <a:lumMod val="75000"/>
                            </a:schemeClr>
                          </a:solidFill>
                          <a:latin typeface="+mn-lt"/>
                          <a:ea typeface="calibri"/>
                          <a:cs typeface="+mn-cs"/>
                        </a:rPr>
                        <a:t>LATENCY(Close) </a:t>
                      </a:r>
                      <a:r>
                        <a:rPr lang="en-US" altLang="ko-KR" sz="1200" b="1" kern="1200" baseline="30000">
                          <a:solidFill>
                            <a:srgbClr val="FF0000"/>
                          </a:solidFill>
                          <a:latin typeface="+mn-lt"/>
                          <a:ea typeface="calibri"/>
                          <a:cs typeface="+mn-cs"/>
                        </a:rPr>
                        <a:t>2</a:t>
                      </a:r>
                      <a:endParaRPr lang="ko-KR" altLang="en-US" sz="1200" b="1" kern="1200" baseline="30000">
                        <a:solidFill>
                          <a:srgbClr val="FF000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dirty="0">
                          <a:solidFill>
                            <a:srgbClr val="00B050"/>
                          </a:solidFill>
                          <a:latin typeface="+mn-lt"/>
                        </a:rPr>
                        <a:t>19.8ns</a:t>
                      </a:r>
                      <a:endParaRPr lang="ko-KR" altLang="en-US" sz="1400" dirty="0">
                        <a:solidFill>
                          <a:srgbClr val="00B050"/>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43.5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48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546720052"/>
                  </a:ext>
                </a:extLst>
              </a:tr>
              <a:tr h="289281">
                <a:tc>
                  <a:txBody>
                    <a:bodyPr/>
                    <a:lstStyle/>
                    <a:p>
                      <a:pPr marL="0" algn="ctr" defTabSz="914400" rtl="0" eaLnBrk="1" latinLnBrk="1" hangingPunct="1"/>
                      <a:r>
                        <a:rPr lang="en-US" altLang="ko-KR" sz="1200" kern="1200">
                          <a:solidFill>
                            <a:schemeClr val="bg2">
                              <a:lumMod val="75000"/>
                            </a:schemeClr>
                          </a:solidFill>
                          <a:latin typeface="+mn-lt"/>
                          <a:ea typeface="calibri"/>
                          <a:cs typeface="+mn-cs"/>
                        </a:rPr>
                        <a:t>LATENCY(Open) </a:t>
                      </a:r>
                      <a:r>
                        <a:rPr lang="en-US" altLang="ko-KR" sz="1200" b="1" kern="1200" baseline="30000">
                          <a:solidFill>
                            <a:srgbClr val="FF0000"/>
                          </a:solidFill>
                          <a:latin typeface="+mn-lt"/>
                          <a:ea typeface="calibri"/>
                          <a:cs typeface="+mn-cs"/>
                        </a:rPr>
                        <a:t>3</a:t>
                      </a:r>
                      <a:endParaRPr lang="ko-KR" altLang="en-US" sz="1200" b="1" kern="1200" baseline="30000">
                        <a:solidFill>
                          <a:srgbClr val="FF000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a:r>
                        <a:rPr lang="en-US" altLang="ko-KR" sz="1400" dirty="0">
                          <a:solidFill>
                            <a:srgbClr val="00B050"/>
                          </a:solidFill>
                        </a:rPr>
                        <a:t>15ns</a:t>
                      </a:r>
                      <a:endParaRPr lang="ko-KR" altLang="en-US" sz="1400" dirty="0">
                        <a:solidFill>
                          <a:srgbClr val="00B05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28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31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2966431163"/>
                  </a:ext>
                </a:extLst>
              </a:tr>
              <a:tr h="289281">
                <a:tc>
                  <a:txBody>
                    <a:bodyPr/>
                    <a:lstStyle/>
                    <a:p>
                      <a:pPr marL="0" algn="ctr" defTabSz="914400" rtl="0" eaLnBrk="1" latinLnBrk="1" hangingPunct="1"/>
                      <a:r>
                        <a:rPr lang="en-US" altLang="ko-KR" sz="1400" kern="1200" err="1">
                          <a:solidFill>
                            <a:schemeClr val="bg2">
                              <a:lumMod val="75000"/>
                            </a:schemeClr>
                          </a:solidFill>
                          <a:latin typeface="+mn-lt"/>
                          <a:ea typeface="calibri"/>
                          <a:cs typeface="+mn-cs"/>
                        </a:rPr>
                        <a:t>tRCR</a:t>
                      </a:r>
                      <a:r>
                        <a:rPr lang="en-US" altLang="ko-KR" sz="1400" kern="1200">
                          <a:solidFill>
                            <a:schemeClr val="bg2">
                              <a:lumMod val="75000"/>
                            </a:schemeClr>
                          </a:solidFill>
                          <a:latin typeface="+mn-lt"/>
                          <a:ea typeface="calibri"/>
                          <a:cs typeface="+mn-cs"/>
                        </a:rPr>
                        <a:t>/</a:t>
                      </a:r>
                      <a:r>
                        <a:rPr lang="en-US" altLang="ko-KR" sz="1400" kern="1200" err="1">
                          <a:solidFill>
                            <a:schemeClr val="bg2">
                              <a:lumMod val="75000"/>
                            </a:schemeClr>
                          </a:solidFill>
                          <a:latin typeface="+mn-lt"/>
                          <a:ea typeface="calibri"/>
                          <a:cs typeface="+mn-cs"/>
                        </a:rPr>
                        <a:t>tRCW</a:t>
                      </a:r>
                      <a:r>
                        <a:rPr lang="en-US" altLang="ko-KR" sz="1400" kern="1200" baseline="0">
                          <a:solidFill>
                            <a:schemeClr val="bg2">
                              <a:lumMod val="75000"/>
                            </a:schemeClr>
                          </a:solidFill>
                          <a:latin typeface="+mn-lt"/>
                          <a:ea typeface="calibri"/>
                          <a:cs typeface="+mn-cs"/>
                        </a:rPr>
                        <a:t> </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dirty="0">
                          <a:solidFill>
                            <a:srgbClr val="00B050"/>
                          </a:solidFill>
                          <a:latin typeface="+mn-lt"/>
                          <a:ea typeface="calibri"/>
                          <a:cs typeface="+mn-cs"/>
                        </a:rPr>
                        <a:t>30ns</a:t>
                      </a:r>
                      <a:endParaRPr lang="ko-KR" altLang="en-US" sz="1400" kern="1200" dirty="0">
                        <a:solidFill>
                          <a:srgbClr val="00B05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60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60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292205696"/>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 DQ/</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rPr>
                        <a:t>512b</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28b</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highlight>
                            <a:srgbClr val="FFFF00"/>
                          </a:highlight>
                          <a:latin typeface="+mn-lt"/>
                          <a:sym typeface="Wingdings" panose="05000000000000000000" pitchFamily="2" charset="2"/>
                        </a:rPr>
                        <a:t>64b?</a:t>
                      </a:r>
                      <a:endParaRPr lang="ko-KR" altLang="en-US" sz="1400">
                        <a:solidFill>
                          <a:schemeClr val="bg1">
                            <a:lumMod val="50000"/>
                          </a:schemeClr>
                        </a:solidFill>
                        <a:highlight>
                          <a:srgbClr val="FFFF00"/>
                        </a:highlight>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3668750597"/>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400" kern="1200">
                          <a:solidFill>
                            <a:schemeClr val="bg2">
                              <a:lumMod val="75000"/>
                            </a:schemeClr>
                          </a:solidFill>
                          <a:latin typeface="+mn-lt"/>
                          <a:ea typeface="calibri"/>
                          <a:cs typeface="+mn-cs"/>
                        </a:rPr>
                        <a:t>In DRAM ECC</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rPr>
                        <a:t>O</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X(Parity</a:t>
                      </a:r>
                      <a:r>
                        <a:rPr lang="en-US" altLang="ko-KR" sz="1400" kern="1200" baseline="0">
                          <a:solidFill>
                            <a:schemeClr val="bg1">
                              <a:lumMod val="50000"/>
                            </a:schemeClr>
                          </a:solidFill>
                          <a:latin typeface="+mn-lt"/>
                          <a:ea typeface="calibri"/>
                          <a:cs typeface="+mn-cs"/>
                        </a:rPr>
                        <a:t> bit)</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O(RS</a:t>
                      </a:r>
                      <a:r>
                        <a:rPr lang="en-US" altLang="ko-KR" sz="1400" kern="1200" baseline="0">
                          <a:solidFill>
                            <a:schemeClr val="bg1">
                              <a:lumMod val="50000"/>
                            </a:schemeClr>
                          </a:solidFill>
                          <a:latin typeface="+mn-lt"/>
                          <a:ea typeface="calibri"/>
                          <a:cs typeface="+mn-cs"/>
                        </a:rPr>
                        <a:t> code)</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3943482217"/>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400" kern="1200">
                          <a:solidFill>
                            <a:schemeClr val="bg2">
                              <a:lumMod val="75000"/>
                            </a:schemeClr>
                          </a:solidFill>
                          <a:latin typeface="+mn-lt"/>
                          <a:ea typeface="calibri"/>
                          <a:cs typeface="+mn-cs"/>
                        </a:rPr>
                        <a:t>BW/pin</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rPr>
                        <a:t>250Mbps</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3.2Gbp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dirty="0">
                          <a:solidFill>
                            <a:schemeClr val="bg1">
                              <a:lumMod val="50000"/>
                            </a:schemeClr>
                          </a:solidFill>
                          <a:latin typeface="+mn-lt"/>
                          <a:ea typeface="calibri"/>
                          <a:cs typeface="+mn-cs"/>
                        </a:rPr>
                        <a:t>6.4Gbps</a:t>
                      </a:r>
                      <a:endParaRPr lang="ko-KR" altLang="en-US" sz="1400" kern="1200" dirty="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520170612"/>
                  </a:ext>
                </a:extLst>
              </a:tr>
            </a:tbl>
          </a:graphicData>
        </a:graphic>
      </p:graphicFrame>
      <p:sp>
        <p:nvSpPr>
          <p:cNvPr id="11" name="TextBox 10">
            <a:extLst>
              <a:ext uri="{FF2B5EF4-FFF2-40B4-BE49-F238E27FC236}">
                <a16:creationId xmlns:a16="http://schemas.microsoft.com/office/drawing/2014/main" id="{33D988AC-6E9D-4CE4-84D0-F8BBBE77F36B}"/>
              </a:ext>
            </a:extLst>
          </p:cNvPr>
          <p:cNvSpPr txBox="1"/>
          <p:nvPr/>
        </p:nvSpPr>
        <p:spPr>
          <a:xfrm>
            <a:off x="121775" y="5473538"/>
            <a:ext cx="3622502" cy="553998"/>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FF0000"/>
                </a:solidFill>
                <a:effectLst/>
                <a:uLnTx/>
                <a:uFillTx/>
                <a:latin typeface="IntelOne Display Regular"/>
                <a:ea typeface="Helvetica Neue"/>
                <a:cs typeface="Helvetica Neue"/>
              </a:rPr>
              <a:t>1  </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a:t>
            </a:r>
            <a:r>
              <a:rPr kumimoji="0" lang="en-US" altLang="ko-KR" sz="1000" b="0" i="0" u="none" strike="noStrike" kern="1200" cap="none" spc="0" normalizeH="0" baseline="0" noProof="0" err="1">
                <a:ln>
                  <a:noFill/>
                </a:ln>
                <a:solidFill>
                  <a:srgbClr val="525252">
                    <a:lumMod val="50000"/>
                  </a:srgbClr>
                </a:solidFill>
                <a:effectLst/>
                <a:uLnTx/>
                <a:uFillTx/>
                <a:latin typeface="IntelOne Display Regular"/>
                <a:ea typeface="Helvetica Neue"/>
                <a:cs typeface="Helvetica Neue"/>
              </a:rPr>
              <a:t>pj</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bit: Watt/Bandwid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FF0000"/>
                </a:solidFill>
                <a:effectLst/>
                <a:uLnTx/>
                <a:uFillTx/>
                <a:latin typeface="IntelOne Display Regular"/>
                <a:ea typeface="Helvetica Neue"/>
                <a:cs typeface="Helvetica Neue"/>
              </a:rPr>
              <a:t>2 </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Latency (Close page): </a:t>
            </a:r>
            <a:r>
              <a:rPr kumimoji="0" lang="en-US" altLang="ko-KR" sz="1000" b="0" i="0" u="none" strike="noStrike" kern="1200" cap="none" spc="0" normalizeH="0" baseline="0" noProof="0" err="1">
                <a:ln>
                  <a:noFill/>
                </a:ln>
                <a:solidFill>
                  <a:srgbClr val="525252">
                    <a:lumMod val="50000"/>
                  </a:srgbClr>
                </a:solidFill>
                <a:effectLst/>
                <a:uLnTx/>
                <a:uFillTx/>
                <a:latin typeface="IntelOne Display Regular"/>
                <a:ea typeface="Helvetica Neue"/>
                <a:cs typeface="Helvetica Neue"/>
              </a:rPr>
              <a:t>tRCD</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 </a:t>
            </a:r>
            <a:r>
              <a:rPr kumimoji="0" lang="en-US" altLang="ko-KR" sz="1000" b="0" i="0" u="none" strike="noStrike" kern="1200" cap="none" spc="0" normalizeH="0" baseline="0" noProof="0" err="1">
                <a:ln>
                  <a:noFill/>
                </a:ln>
                <a:solidFill>
                  <a:srgbClr val="525252">
                    <a:lumMod val="50000"/>
                  </a:srgbClr>
                </a:solidFill>
                <a:effectLst/>
                <a:uLnTx/>
                <a:uFillTx/>
                <a:latin typeface="IntelOne Display Regular"/>
                <a:ea typeface="Helvetica Neue"/>
                <a:cs typeface="Helvetica Neue"/>
              </a:rPr>
              <a:t>tAA</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ACT~RD + RD~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FF0000"/>
                </a:solidFill>
                <a:effectLst/>
                <a:uLnTx/>
                <a:uFillTx/>
                <a:latin typeface="IntelOne Display Regular"/>
                <a:ea typeface="Helvetica Neue"/>
                <a:cs typeface="Helvetica Neue"/>
              </a:rPr>
              <a:t>3</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Latency (Open page): </a:t>
            </a:r>
            <a:r>
              <a:rPr kumimoji="0" lang="en-US" altLang="ko-KR" sz="1000" b="0" i="0" u="none" strike="noStrike" kern="1200" cap="none" spc="0" normalizeH="0" baseline="0" noProof="0" err="1">
                <a:ln>
                  <a:noFill/>
                </a:ln>
                <a:solidFill>
                  <a:srgbClr val="525252">
                    <a:lumMod val="50000"/>
                  </a:srgbClr>
                </a:solidFill>
                <a:effectLst/>
                <a:uLnTx/>
                <a:uFillTx/>
                <a:latin typeface="IntelOne Display Regular"/>
                <a:ea typeface="Helvetica Neue"/>
                <a:cs typeface="Helvetica Neue"/>
              </a:rPr>
              <a:t>tAA</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 RD~ DATA)</a:t>
            </a:r>
          </a:p>
        </p:txBody>
      </p:sp>
      <p:sp>
        <p:nvSpPr>
          <p:cNvPr id="12" name="TextBox 11">
            <a:extLst>
              <a:ext uri="{FF2B5EF4-FFF2-40B4-BE49-F238E27FC236}">
                <a16:creationId xmlns:a16="http://schemas.microsoft.com/office/drawing/2014/main" id="{4FB62026-EFA7-4AAC-B411-84945C6E0094}"/>
              </a:ext>
            </a:extLst>
          </p:cNvPr>
          <p:cNvSpPr txBox="1"/>
          <p:nvPr/>
        </p:nvSpPr>
        <p:spPr>
          <a:xfrm>
            <a:off x="4302879" y="5947804"/>
            <a:ext cx="6833823"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IntelOne Display Regular"/>
                <a:ea typeface="Helvetica Neue"/>
                <a:cs typeface="Helvetica Neue"/>
              </a:rPr>
              <a:t>*TSV overhead not included. No-SerDes circuit assum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IntelOne Display Regular"/>
                <a:ea typeface="Helvetica Neue"/>
                <a:cs typeface="Helvetica Neue"/>
              </a:rPr>
              <a:t>**</a:t>
            </a:r>
            <a:r>
              <a:rPr kumimoji="0" lang="en-US" sz="1200" b="0" i="0" u="none" strike="noStrike" kern="1200" cap="none" spc="0" normalizeH="0" baseline="0" noProof="0" err="1">
                <a:ln>
                  <a:noFill/>
                </a:ln>
                <a:solidFill>
                  <a:srgbClr val="FFFFFF"/>
                </a:solidFill>
                <a:effectLst/>
                <a:uLnTx/>
                <a:uFillTx/>
                <a:latin typeface="IntelOne Display Regular"/>
                <a:ea typeface="Helvetica Neue"/>
                <a:cs typeface="Helvetica Neue"/>
              </a:rPr>
              <a:t>pJ</a:t>
            </a:r>
            <a:r>
              <a:rPr kumimoji="0" lang="en-US" sz="1200" b="0" i="0" u="none" strike="noStrike" kern="1200" cap="none" spc="0" normalizeH="0" baseline="0" noProof="0">
                <a:ln>
                  <a:noFill/>
                </a:ln>
                <a:solidFill>
                  <a:srgbClr val="FFFFFF"/>
                </a:solidFill>
                <a:effectLst/>
                <a:uLnTx/>
                <a:uFillTx/>
                <a:latin typeface="IntelOne Display Regular"/>
                <a:ea typeface="Helvetica Neue"/>
                <a:cs typeface="Helvetica Neue"/>
              </a:rPr>
              <a:t>/bit and latency numbers above are at macro level and do not account for base die/3D stack costs</a:t>
            </a:r>
          </a:p>
        </p:txBody>
      </p:sp>
      <p:grpSp>
        <p:nvGrpSpPr>
          <p:cNvPr id="2" name="Group 1">
            <a:extLst>
              <a:ext uri="{FF2B5EF4-FFF2-40B4-BE49-F238E27FC236}">
                <a16:creationId xmlns:a16="http://schemas.microsoft.com/office/drawing/2014/main" id="{3F50BD44-3733-4199-B027-B64A5FCBAA5A}"/>
              </a:ext>
            </a:extLst>
          </p:cNvPr>
          <p:cNvGrpSpPr/>
          <p:nvPr/>
        </p:nvGrpSpPr>
        <p:grpSpPr>
          <a:xfrm>
            <a:off x="389193" y="1107042"/>
            <a:ext cx="2748502" cy="4015980"/>
            <a:chOff x="389193" y="1107042"/>
            <a:chExt cx="2748502" cy="4015980"/>
          </a:xfrm>
        </p:grpSpPr>
        <p:pic>
          <p:nvPicPr>
            <p:cNvPr id="3" name="Picture 2">
              <a:extLst>
                <a:ext uri="{FF2B5EF4-FFF2-40B4-BE49-F238E27FC236}">
                  <a16:creationId xmlns:a16="http://schemas.microsoft.com/office/drawing/2014/main" id="{E5CCFE5B-426D-4C5A-8807-77A8E0771487}"/>
                </a:ext>
              </a:extLst>
            </p:cNvPr>
            <p:cNvPicPr>
              <a:picLocks noChangeAspect="1"/>
            </p:cNvPicPr>
            <p:nvPr/>
          </p:nvPicPr>
          <p:blipFill>
            <a:blip r:embed="rId2"/>
            <a:stretch>
              <a:fillRect/>
            </a:stretch>
          </p:blipFill>
          <p:spPr>
            <a:xfrm>
              <a:off x="389194" y="1107042"/>
              <a:ext cx="2748501" cy="4015980"/>
            </a:xfrm>
            <a:prstGeom prst="rect">
              <a:avLst/>
            </a:prstGeom>
          </p:spPr>
        </p:pic>
        <p:sp>
          <p:nvSpPr>
            <p:cNvPr id="8" name="TextBox 7">
              <a:extLst>
                <a:ext uri="{FF2B5EF4-FFF2-40B4-BE49-F238E27FC236}">
                  <a16:creationId xmlns:a16="http://schemas.microsoft.com/office/drawing/2014/main" id="{F1985EDE-7E3D-4B98-AA66-0B889A05FF18}"/>
                </a:ext>
              </a:extLst>
            </p:cNvPr>
            <p:cNvSpPr txBox="1"/>
            <p:nvPr/>
          </p:nvSpPr>
          <p:spPr>
            <a:xfrm>
              <a:off x="389193" y="1107042"/>
              <a:ext cx="2748501" cy="461665"/>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High-Bandwidth Macro (2Gbit 8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16MB/mm2, 128GB/s, 1.5pJ/b</a:t>
              </a:r>
            </a:p>
          </p:txBody>
        </p:sp>
      </p:grpSp>
      <p:pic>
        <p:nvPicPr>
          <p:cNvPr id="5" name="Picture 4">
            <a:extLst>
              <a:ext uri="{FF2B5EF4-FFF2-40B4-BE49-F238E27FC236}">
                <a16:creationId xmlns:a16="http://schemas.microsoft.com/office/drawing/2014/main" id="{C9D2C2D9-A466-BE59-701E-E64F46901297}"/>
              </a:ext>
            </a:extLst>
          </p:cNvPr>
          <p:cNvPicPr>
            <a:picLocks noChangeAspect="1"/>
          </p:cNvPicPr>
          <p:nvPr/>
        </p:nvPicPr>
        <p:blipFill>
          <a:blip r:embed="rId3"/>
          <a:stretch>
            <a:fillRect/>
          </a:stretch>
        </p:blipFill>
        <p:spPr>
          <a:xfrm>
            <a:off x="5354854" y="3429000"/>
            <a:ext cx="2243333" cy="3276667"/>
          </a:xfrm>
          <a:prstGeom prst="rect">
            <a:avLst/>
          </a:prstGeom>
        </p:spPr>
      </p:pic>
    </p:spTree>
    <p:extLst>
      <p:ext uri="{BB962C8B-B14F-4D97-AF65-F5344CB8AC3E}">
        <p14:creationId xmlns:p14="http://schemas.microsoft.com/office/powerpoint/2010/main" val="41573096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856D03F-F2C6-4426-B326-3097B6369D7D}"/>
              </a:ext>
            </a:extLst>
          </p:cNvPr>
          <p:cNvSpPr txBox="1"/>
          <p:nvPr/>
        </p:nvSpPr>
        <p:spPr>
          <a:xfrm>
            <a:off x="3155002" y="6472006"/>
            <a:ext cx="6833823" cy="316420"/>
          </a:xfrm>
          <a:prstGeom prst="rect">
            <a:avLst/>
          </a:prstGeom>
          <a:solidFill>
            <a:srgbClr val="0068B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96115"/>
                </a:solidFill>
                <a:effectLst/>
                <a:uLnTx/>
                <a:uFillTx/>
                <a:latin typeface="IntelOne Display Regular"/>
                <a:ea typeface="Helvetica Neue"/>
                <a:cs typeface="Helvetica Neue"/>
              </a:rPr>
              <a:t>Data shared under CNDA 30991112 &amp; CNDA 112784</a:t>
            </a:r>
          </a:p>
        </p:txBody>
      </p:sp>
      <p:sp>
        <p:nvSpPr>
          <p:cNvPr id="4" name="Title 1">
            <a:extLst>
              <a:ext uri="{FF2B5EF4-FFF2-40B4-BE49-F238E27FC236}">
                <a16:creationId xmlns:a16="http://schemas.microsoft.com/office/drawing/2014/main" id="{EC04A469-045E-4F17-A3BC-4C9D8822F486}"/>
              </a:ext>
            </a:extLst>
          </p:cNvPr>
          <p:cNvSpPr>
            <a:spLocks noGrp="1"/>
          </p:cNvSpPr>
          <p:nvPr>
            <p:ph type="title"/>
          </p:nvPr>
        </p:nvSpPr>
        <p:spPr>
          <a:xfrm>
            <a:off x="121775" y="44257"/>
            <a:ext cx="10972800" cy="876777"/>
          </a:xfrm>
        </p:spPr>
        <p:txBody>
          <a:bodyPr>
            <a:normAutofit/>
          </a:bodyPr>
          <a:lstStyle/>
          <a:p>
            <a:r>
              <a:rPr lang="en-US" sz="3200"/>
              <a:t>TCD macro key metrics (High Capacity)</a:t>
            </a:r>
            <a:endParaRPr lang="en-US" sz="3200">
              <a:solidFill>
                <a:srgbClr val="FFFF00"/>
              </a:solidFill>
            </a:endParaRPr>
          </a:p>
        </p:txBody>
      </p:sp>
      <p:graphicFrame>
        <p:nvGraphicFramePr>
          <p:cNvPr id="7" name="표 16">
            <a:extLst>
              <a:ext uri="{FF2B5EF4-FFF2-40B4-BE49-F238E27FC236}">
                <a16:creationId xmlns:a16="http://schemas.microsoft.com/office/drawing/2014/main" id="{261DEE51-472B-4894-959E-3FB72E0FA370}"/>
              </a:ext>
            </a:extLst>
          </p:cNvPr>
          <p:cNvGraphicFramePr>
            <a:graphicFrameLocks noGrp="1"/>
          </p:cNvGraphicFramePr>
          <p:nvPr/>
        </p:nvGraphicFramePr>
        <p:xfrm>
          <a:off x="4025835" y="805443"/>
          <a:ext cx="7573649" cy="5222093"/>
        </p:xfrm>
        <a:graphic>
          <a:graphicData uri="http://schemas.openxmlformats.org/drawingml/2006/table">
            <a:tbl>
              <a:tblPr firstRow="1" bandRow="1"/>
              <a:tblGrid>
                <a:gridCol w="1947374">
                  <a:extLst>
                    <a:ext uri="{9D8B030D-6E8A-4147-A177-3AD203B41FA5}">
                      <a16:colId xmlns:a16="http://schemas.microsoft.com/office/drawing/2014/main" val="667046298"/>
                    </a:ext>
                  </a:extLst>
                </a:gridCol>
                <a:gridCol w="2111477">
                  <a:extLst>
                    <a:ext uri="{9D8B030D-6E8A-4147-A177-3AD203B41FA5}">
                      <a16:colId xmlns:a16="http://schemas.microsoft.com/office/drawing/2014/main" val="3903014150"/>
                    </a:ext>
                  </a:extLst>
                </a:gridCol>
                <a:gridCol w="1757399">
                  <a:extLst>
                    <a:ext uri="{9D8B030D-6E8A-4147-A177-3AD203B41FA5}">
                      <a16:colId xmlns:a16="http://schemas.microsoft.com/office/drawing/2014/main" val="3862591744"/>
                    </a:ext>
                  </a:extLst>
                </a:gridCol>
                <a:gridCol w="1757399">
                  <a:extLst>
                    <a:ext uri="{9D8B030D-6E8A-4147-A177-3AD203B41FA5}">
                      <a16:colId xmlns:a16="http://schemas.microsoft.com/office/drawing/2014/main" val="3461528361"/>
                    </a:ext>
                  </a:extLst>
                </a:gridCol>
              </a:tblGrid>
              <a:tr h="318209">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600" b="1" baseline="0"/>
                        <a:t>Parameters \tech.</a:t>
                      </a:r>
                      <a:endParaRPr lang="ko-KR" altLang="en-US" sz="16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b="1"/>
                        <a:t>1Gb</a:t>
                      </a:r>
                      <a:r>
                        <a:rPr lang="en-US" altLang="ko-KR" sz="1400" b="1" baseline="0"/>
                        <a:t> Macro* (1znm)</a:t>
                      </a:r>
                      <a:endParaRPr lang="ko-KR" altLang="en-US" sz="14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b="1" kern="1200">
                          <a:solidFill>
                            <a:schemeClr val="tx1"/>
                          </a:solidFill>
                          <a:latin typeface="Calibri"/>
                          <a:ea typeface="calibri"/>
                          <a:cs typeface="+mn-cs"/>
                        </a:rPr>
                        <a:t>1Gb Macro* (1bm)</a:t>
                      </a:r>
                      <a:endParaRPr lang="ko-KR" altLang="en-US" sz="1400" b="1" kern="1200">
                        <a:solidFill>
                          <a:schemeClr val="tx1"/>
                        </a:solidFill>
                        <a:latin typeface="Calibri"/>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b="1" kern="1200">
                          <a:solidFill>
                            <a:schemeClr val="tx1"/>
                          </a:solidFill>
                          <a:latin typeface="Calibri"/>
                          <a:ea typeface="calibri"/>
                          <a:cs typeface="+mn-cs"/>
                        </a:rPr>
                        <a:t>16Gb LPDDR5 (1zm)</a:t>
                      </a:r>
                      <a:endParaRPr lang="ko-KR" altLang="en-US" sz="1400" b="1" kern="1200">
                        <a:solidFill>
                          <a:schemeClr val="tx1"/>
                        </a:solidFill>
                        <a:latin typeface="Calibri"/>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269773988"/>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400" kern="1200">
                          <a:solidFill>
                            <a:schemeClr val="bg2">
                              <a:lumMod val="75000"/>
                            </a:schemeClr>
                          </a:solidFill>
                          <a:latin typeface="+mn-lt"/>
                          <a:ea typeface="calibri"/>
                          <a:cs typeface="+mn-cs"/>
                        </a:rPr>
                        <a:t>Density/mm2</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accent3">
                              <a:lumMod val="75000"/>
                            </a:schemeClr>
                          </a:solidFill>
                          <a:latin typeface="+mn-lt"/>
                          <a:ea typeface="calibri"/>
                          <a:cs typeface="+mn-cs"/>
                        </a:rPr>
                        <a:t>19.17</a:t>
                      </a:r>
                      <a:r>
                        <a:rPr lang="en-US" altLang="ko-KR" sz="1400" kern="1200">
                          <a:solidFill>
                            <a:schemeClr val="accent3">
                              <a:lumMod val="75000"/>
                            </a:schemeClr>
                          </a:solidFill>
                          <a:latin typeface="Calibri"/>
                          <a:ea typeface="calibri"/>
                          <a:cs typeface="+mn-cs"/>
                        </a:rPr>
                        <a:t>MB/mm2</a:t>
                      </a:r>
                      <a:endParaRPr lang="ko-KR" altLang="en-US" sz="1400" kern="1200">
                        <a:solidFill>
                          <a:schemeClr val="accent3">
                            <a:lumMod val="75000"/>
                          </a:schemeClr>
                        </a:solidFill>
                        <a:latin typeface="Calibri"/>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rgbClr val="00B050"/>
                          </a:solidFill>
                          <a:latin typeface="+mn-lt"/>
                          <a:ea typeface="calibri"/>
                          <a:cs typeface="+mn-cs"/>
                        </a:rPr>
                        <a:t>25.56</a:t>
                      </a:r>
                      <a:r>
                        <a:rPr lang="en-US" altLang="ko-KR" sz="1400" kern="1200">
                          <a:solidFill>
                            <a:srgbClr val="00B050"/>
                          </a:solidFill>
                          <a:latin typeface="Calibri"/>
                          <a:ea typeface="calibri"/>
                          <a:cs typeface="+mn-cs"/>
                        </a:rPr>
                        <a:t>MB/mm2</a:t>
                      </a:r>
                      <a:endParaRPr lang="ko-KR" altLang="en-US" sz="1400" kern="1200">
                        <a:solidFill>
                          <a:srgbClr val="00B050"/>
                        </a:solidFill>
                        <a:latin typeface="Calibri"/>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1">
                              <a:lumMod val="50000"/>
                            </a:schemeClr>
                          </a:solidFill>
                          <a:latin typeface="+mn-lt"/>
                          <a:ea typeface="calibri"/>
                          <a:cs typeface="+mn-cs"/>
                        </a:rPr>
                        <a:t>33.73MB/mm2</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019017034"/>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 Channel</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4195713994"/>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 pre-fetch/</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chemeClr val="bg1">
                              <a:lumMod val="50000"/>
                            </a:schemeClr>
                          </a:solidFill>
                          <a:latin typeface="+mn-lt"/>
                        </a:rPr>
                        <a:t>512b</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28b</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618125851"/>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Page Size/</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chemeClr val="bg1">
                              <a:lumMod val="50000"/>
                            </a:schemeClr>
                          </a:solidFill>
                          <a:latin typeface="+mn-lt"/>
                        </a:rPr>
                        <a:t>1KB</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2KB</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3355873666"/>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 Bank/</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rPr>
                        <a:t>8</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16</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480859334"/>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err="1">
                          <a:solidFill>
                            <a:schemeClr val="bg2">
                              <a:lumMod val="75000"/>
                            </a:schemeClr>
                          </a:solidFill>
                          <a:latin typeface="+mn-lt"/>
                          <a:ea typeface="calibri"/>
                          <a:cs typeface="+mn-cs"/>
                        </a:rPr>
                        <a:t>tCCD</a:t>
                      </a:r>
                      <a:r>
                        <a:rPr lang="en-US" altLang="ko-KR" sz="1400" kern="1200" baseline="0">
                          <a:solidFill>
                            <a:schemeClr val="bg2">
                              <a:lumMod val="75000"/>
                            </a:schemeClr>
                          </a:solidFill>
                          <a:latin typeface="+mn-lt"/>
                          <a:ea typeface="calibri"/>
                          <a:cs typeface="+mn-cs"/>
                        </a:rPr>
                        <a:t> target</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chemeClr val="accent3">
                              <a:lumMod val="75000"/>
                            </a:schemeClr>
                          </a:solidFill>
                          <a:latin typeface="+mn-lt"/>
                        </a:rPr>
                        <a:t>4ns</a:t>
                      </a:r>
                      <a:endParaRPr lang="ko-KR" altLang="en-US" sz="1400">
                        <a:solidFill>
                          <a:schemeClr val="accent3">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2.5ns</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39764128"/>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BW/</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rgbClr val="00B050"/>
                          </a:solidFill>
                          <a:latin typeface="+mn-lt"/>
                        </a:rPr>
                        <a:t>16GB/s</a:t>
                      </a:r>
                      <a:endParaRPr lang="ko-KR" altLang="en-US" sz="1400">
                        <a:solidFill>
                          <a:srgbClr val="00B050"/>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2.8GB/s </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3477832402"/>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Total BW</a:t>
                      </a:r>
                      <a:r>
                        <a:rPr lang="en-US" altLang="ko-KR" sz="1400" kern="1200" baseline="0">
                          <a:solidFill>
                            <a:schemeClr val="bg2">
                              <a:lumMod val="75000"/>
                            </a:schemeClr>
                          </a:solidFill>
                          <a:latin typeface="+mn-lt"/>
                          <a:ea typeface="calibri"/>
                          <a:cs typeface="+mn-cs"/>
                        </a:rPr>
                        <a:t> (per 1GB)</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a:r>
                        <a:rPr lang="en-US" altLang="ko-KR" sz="1400">
                          <a:solidFill>
                            <a:srgbClr val="00B050"/>
                          </a:solidFill>
                        </a:rPr>
                        <a:t>128GB/s</a:t>
                      </a:r>
                      <a:endParaRPr lang="ko-KR" altLang="en-US" sz="1400">
                        <a:solidFill>
                          <a:srgbClr val="00B05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6.4GB/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970579449"/>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400" kern="1200" err="1">
                          <a:solidFill>
                            <a:schemeClr val="bg2">
                              <a:lumMod val="75000"/>
                            </a:schemeClr>
                          </a:solidFill>
                          <a:latin typeface="+mn-lt"/>
                          <a:ea typeface="calibri"/>
                          <a:cs typeface="+mn-cs"/>
                        </a:rPr>
                        <a:t>pj</a:t>
                      </a:r>
                      <a:r>
                        <a:rPr lang="en-US" altLang="ko-KR" sz="1400" kern="1200">
                          <a:solidFill>
                            <a:schemeClr val="bg2">
                              <a:lumMod val="75000"/>
                            </a:schemeClr>
                          </a:solidFill>
                          <a:latin typeface="+mn-lt"/>
                          <a:ea typeface="calibri"/>
                          <a:cs typeface="+mn-cs"/>
                        </a:rPr>
                        <a:t>/bit </a:t>
                      </a:r>
                      <a:r>
                        <a:rPr lang="en-US" altLang="ko-KR" sz="1400" b="1" kern="1200" baseline="30000">
                          <a:solidFill>
                            <a:srgbClr val="FF0000"/>
                          </a:solidFill>
                          <a:latin typeface="+mn-lt"/>
                          <a:ea typeface="calibri"/>
                          <a:cs typeface="+mn-cs"/>
                        </a:rPr>
                        <a:t>1</a:t>
                      </a:r>
                      <a:endParaRPr lang="ko-KR" altLang="en-US" sz="1400" b="1" kern="1200" baseline="30000">
                        <a:solidFill>
                          <a:srgbClr val="FF000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rgbClr val="00B050"/>
                          </a:solidFill>
                          <a:latin typeface="+mn-lt"/>
                        </a:rPr>
                        <a:t>~1.5</a:t>
                      </a:r>
                      <a:endParaRPr lang="ko-KR" altLang="en-US" sz="1400">
                        <a:solidFill>
                          <a:srgbClr val="00B050"/>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3.5</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154348456"/>
                  </a:ext>
                </a:extLst>
              </a:tr>
              <a:tr h="314813">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200" kern="1200">
                          <a:solidFill>
                            <a:schemeClr val="bg2">
                              <a:lumMod val="75000"/>
                            </a:schemeClr>
                          </a:solidFill>
                          <a:latin typeface="+mn-lt"/>
                          <a:ea typeface="calibri"/>
                          <a:cs typeface="+mn-cs"/>
                        </a:rPr>
                        <a:t>LATENCY(Close) </a:t>
                      </a:r>
                      <a:r>
                        <a:rPr lang="en-US" altLang="ko-KR" sz="1200" b="1" kern="1200" baseline="30000">
                          <a:solidFill>
                            <a:srgbClr val="FF0000"/>
                          </a:solidFill>
                          <a:latin typeface="+mn-lt"/>
                          <a:ea typeface="calibri"/>
                          <a:cs typeface="+mn-cs"/>
                        </a:rPr>
                        <a:t>2</a:t>
                      </a:r>
                      <a:endParaRPr lang="ko-KR" altLang="en-US" sz="1200" b="1" kern="1200" baseline="30000">
                        <a:solidFill>
                          <a:srgbClr val="FF000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400" kern="1200" dirty="0">
                          <a:solidFill>
                            <a:srgbClr val="00B050"/>
                          </a:solidFill>
                          <a:latin typeface="+mn-lt"/>
                          <a:ea typeface="calibri"/>
                          <a:cs typeface="+mn-cs"/>
                        </a:rPr>
                        <a:t>~25ns</a:t>
                      </a:r>
                      <a:endParaRPr lang="ko-KR" altLang="en-US" sz="1400" kern="1200" dirty="0">
                        <a:solidFill>
                          <a:srgbClr val="00B05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40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546720052"/>
                  </a:ext>
                </a:extLst>
              </a:tr>
              <a:tr h="289281">
                <a:tc>
                  <a:txBody>
                    <a:bodyPr/>
                    <a:lstStyle/>
                    <a:p>
                      <a:pPr marL="0" algn="ctr" defTabSz="914400" rtl="0" eaLnBrk="1" latinLnBrk="1" hangingPunct="1"/>
                      <a:r>
                        <a:rPr lang="en-US" altLang="ko-KR" sz="1200" kern="1200">
                          <a:solidFill>
                            <a:schemeClr val="bg2">
                              <a:lumMod val="75000"/>
                            </a:schemeClr>
                          </a:solidFill>
                          <a:latin typeface="+mn-lt"/>
                          <a:ea typeface="calibri"/>
                          <a:cs typeface="+mn-cs"/>
                        </a:rPr>
                        <a:t>LATENCY(Open) </a:t>
                      </a:r>
                      <a:r>
                        <a:rPr lang="en-US" altLang="ko-KR" sz="1200" b="1" kern="1200" baseline="30000">
                          <a:solidFill>
                            <a:srgbClr val="FF0000"/>
                          </a:solidFill>
                          <a:latin typeface="+mn-lt"/>
                          <a:ea typeface="calibri"/>
                          <a:cs typeface="+mn-cs"/>
                        </a:rPr>
                        <a:t>3</a:t>
                      </a:r>
                      <a:endParaRPr lang="ko-KR" altLang="en-US" sz="1200" b="1" kern="1200" baseline="30000">
                        <a:solidFill>
                          <a:srgbClr val="FF000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dirty="0">
                          <a:solidFill>
                            <a:srgbClr val="00B050"/>
                          </a:solidFill>
                          <a:latin typeface="+mn-lt"/>
                          <a:ea typeface="calibri"/>
                          <a:cs typeface="+mn-cs"/>
                        </a:rPr>
                        <a:t>15ns</a:t>
                      </a:r>
                      <a:endParaRPr lang="ko-KR" altLang="en-US" sz="1400" kern="1200" dirty="0">
                        <a:solidFill>
                          <a:srgbClr val="00B05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25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2966431163"/>
                  </a:ext>
                </a:extLst>
              </a:tr>
              <a:tr h="289281">
                <a:tc>
                  <a:txBody>
                    <a:bodyPr/>
                    <a:lstStyle/>
                    <a:p>
                      <a:pPr marL="0" algn="ctr" defTabSz="914400" rtl="0" eaLnBrk="1" latinLnBrk="1" hangingPunct="1"/>
                      <a:r>
                        <a:rPr lang="en-US" altLang="ko-KR" sz="1400" kern="1200" err="1">
                          <a:solidFill>
                            <a:schemeClr val="bg2">
                              <a:lumMod val="75000"/>
                            </a:schemeClr>
                          </a:solidFill>
                          <a:latin typeface="+mn-lt"/>
                          <a:ea typeface="calibri"/>
                          <a:cs typeface="+mn-cs"/>
                        </a:rPr>
                        <a:t>tRCR</a:t>
                      </a:r>
                      <a:r>
                        <a:rPr lang="en-US" altLang="ko-KR" sz="1400" kern="1200">
                          <a:solidFill>
                            <a:schemeClr val="bg2">
                              <a:lumMod val="75000"/>
                            </a:schemeClr>
                          </a:solidFill>
                          <a:latin typeface="+mn-lt"/>
                          <a:ea typeface="calibri"/>
                          <a:cs typeface="+mn-cs"/>
                        </a:rPr>
                        <a:t>/</a:t>
                      </a:r>
                      <a:r>
                        <a:rPr lang="en-US" altLang="ko-KR" sz="1400" kern="1200" err="1">
                          <a:solidFill>
                            <a:schemeClr val="bg2">
                              <a:lumMod val="75000"/>
                            </a:schemeClr>
                          </a:solidFill>
                          <a:latin typeface="+mn-lt"/>
                          <a:ea typeface="calibri"/>
                          <a:cs typeface="+mn-cs"/>
                        </a:rPr>
                        <a:t>tRCW</a:t>
                      </a:r>
                      <a:r>
                        <a:rPr lang="en-US" altLang="ko-KR" sz="1400" kern="1200" baseline="0">
                          <a:solidFill>
                            <a:schemeClr val="bg2">
                              <a:lumMod val="75000"/>
                            </a:schemeClr>
                          </a:solidFill>
                          <a:latin typeface="+mn-lt"/>
                          <a:ea typeface="calibri"/>
                          <a:cs typeface="+mn-cs"/>
                        </a:rPr>
                        <a:t> </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dirty="0">
                          <a:solidFill>
                            <a:srgbClr val="00B050"/>
                          </a:solidFill>
                          <a:latin typeface="+mn-lt"/>
                          <a:ea typeface="calibri"/>
                          <a:cs typeface="+mn-cs"/>
                        </a:rPr>
                        <a:t>30ns</a:t>
                      </a:r>
                      <a:endParaRPr lang="ko-KR" altLang="en-US" sz="1400" kern="1200" dirty="0">
                        <a:solidFill>
                          <a:srgbClr val="00B050"/>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60ns</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1292205696"/>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 DQ/</a:t>
                      </a:r>
                      <a:r>
                        <a:rPr lang="en-US" altLang="ko-KR" sz="1400" kern="1200" err="1">
                          <a:solidFill>
                            <a:schemeClr val="bg2">
                              <a:lumMod val="75000"/>
                            </a:schemeClr>
                          </a:solidFill>
                          <a:latin typeface="+mn-lt"/>
                          <a:ea typeface="calibri"/>
                          <a:cs typeface="+mn-cs"/>
                        </a:rPr>
                        <a:t>Ch</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rPr>
                        <a:t>512b</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6b</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3668750597"/>
                  </a:ext>
                </a:extLst>
              </a:tr>
              <a:tr h="289281">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kern="1200">
                          <a:solidFill>
                            <a:schemeClr val="bg2">
                              <a:lumMod val="75000"/>
                            </a:schemeClr>
                          </a:solidFill>
                          <a:latin typeface="+mn-lt"/>
                          <a:ea typeface="calibri"/>
                          <a:cs typeface="+mn-cs"/>
                        </a:rPr>
                        <a:t>IDD6(4GB, mA)</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latinLnBrk="1"/>
                      <a:r>
                        <a:rPr lang="en-US" altLang="ko-KR" sz="1400">
                          <a:solidFill>
                            <a:srgbClr val="FF0000"/>
                          </a:solidFill>
                          <a:latin typeface="+mn-lt"/>
                        </a:rPr>
                        <a:t>4.13</a:t>
                      </a:r>
                      <a:endParaRPr lang="ko-KR" altLang="en-US" sz="1400">
                        <a:solidFill>
                          <a:srgbClr val="FF0000"/>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1.28</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3066366636"/>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400" kern="1200">
                          <a:solidFill>
                            <a:schemeClr val="bg2">
                              <a:lumMod val="75000"/>
                            </a:schemeClr>
                          </a:solidFill>
                          <a:latin typeface="+mn-lt"/>
                          <a:ea typeface="calibri"/>
                          <a:cs typeface="+mn-cs"/>
                        </a:rPr>
                        <a:t>In DRAM ECC</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rPr>
                        <a:t>O</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a:solidFill>
                            <a:schemeClr val="bg1">
                              <a:lumMod val="50000"/>
                            </a:schemeClr>
                          </a:solidFill>
                          <a:latin typeface="+mn-lt"/>
                          <a:ea typeface="calibri"/>
                          <a:cs typeface="+mn-cs"/>
                        </a:rPr>
                        <a:t>O</a:t>
                      </a:r>
                      <a:endParaRPr lang="ko-KR" altLang="en-US" sz="1400" kern="120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3943482217"/>
                  </a:ext>
                </a:extLst>
              </a:tr>
              <a:tr h="289281">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marL="0" algn="ctr" defTabSz="914400" rtl="0" eaLnBrk="1" latinLnBrk="1" hangingPunct="1"/>
                      <a:r>
                        <a:rPr lang="en-US" altLang="ko-KR" sz="1400" kern="1200">
                          <a:solidFill>
                            <a:schemeClr val="bg2">
                              <a:lumMod val="75000"/>
                            </a:schemeClr>
                          </a:solidFill>
                          <a:latin typeface="+mn-lt"/>
                          <a:ea typeface="calibri"/>
                          <a:cs typeface="+mn-cs"/>
                        </a:rPr>
                        <a:t>BW/pin</a:t>
                      </a:r>
                      <a:endParaRPr lang="ko-KR" altLang="en-US" sz="1400" kern="1200">
                        <a:solidFill>
                          <a:schemeClr val="bg2">
                            <a:lumMod val="75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rPr>
                        <a:t>250Mbps</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lvl1pPr marL="0" algn="l" defTabSz="914400" rtl="0" eaLnBrk="1" latinLnBrk="0" hangingPunct="1">
                        <a:defRPr sz="1800" kern="1200">
                          <a:solidFill>
                            <a:schemeClr val="tx1"/>
                          </a:solidFill>
                          <a:latin typeface="Calibri"/>
                          <a:ea typeface="calibri"/>
                        </a:defRPr>
                      </a:lvl1pPr>
                      <a:lvl2pPr marL="457200" algn="l" defTabSz="914400" rtl="0" eaLnBrk="1" latinLnBrk="0" hangingPunct="1">
                        <a:defRPr sz="1800" kern="1200">
                          <a:solidFill>
                            <a:schemeClr val="tx1"/>
                          </a:solidFill>
                          <a:latin typeface="Calibri"/>
                          <a:ea typeface="calibri"/>
                        </a:defRPr>
                      </a:lvl2pPr>
                      <a:lvl3pPr marL="914400" algn="l" defTabSz="914400" rtl="0" eaLnBrk="1" latinLnBrk="0" hangingPunct="1">
                        <a:defRPr sz="1800" kern="1200">
                          <a:solidFill>
                            <a:schemeClr val="tx1"/>
                          </a:solidFill>
                          <a:latin typeface="Calibri"/>
                          <a:ea typeface="calibri"/>
                        </a:defRPr>
                      </a:lvl3pPr>
                      <a:lvl4pPr marL="1371600" algn="l" defTabSz="914400" rtl="0" eaLnBrk="1" latinLnBrk="0" hangingPunct="1">
                        <a:defRPr sz="1800" kern="1200">
                          <a:solidFill>
                            <a:schemeClr val="tx1"/>
                          </a:solidFill>
                          <a:latin typeface="Calibri"/>
                          <a:ea typeface="calibri"/>
                        </a:defRPr>
                      </a:lvl4pPr>
                      <a:lvl5pPr marL="1828800" algn="l" defTabSz="914400" rtl="0" eaLnBrk="1" latinLnBrk="0" hangingPunct="1">
                        <a:defRPr sz="1800" kern="1200">
                          <a:solidFill>
                            <a:schemeClr val="tx1"/>
                          </a:solidFill>
                          <a:latin typeface="Calibri"/>
                          <a:ea typeface="calibri"/>
                        </a:defRPr>
                      </a:lvl5pPr>
                      <a:lvl6pPr marL="2286000" algn="l" defTabSz="914400" rtl="0" eaLnBrk="1" latinLnBrk="0" hangingPunct="1">
                        <a:defRPr sz="1800" kern="1200">
                          <a:solidFill>
                            <a:schemeClr val="tx1"/>
                          </a:solidFill>
                          <a:latin typeface="Calibri"/>
                          <a:ea typeface="calibri"/>
                        </a:defRPr>
                      </a:lvl6pPr>
                      <a:lvl7pPr marL="2743200" algn="l" defTabSz="914400" rtl="0" eaLnBrk="1" latinLnBrk="0" hangingPunct="1">
                        <a:defRPr sz="1800" kern="1200">
                          <a:solidFill>
                            <a:schemeClr val="tx1"/>
                          </a:solidFill>
                          <a:latin typeface="Calibri"/>
                          <a:ea typeface="calibri"/>
                        </a:defRPr>
                      </a:lvl7pPr>
                      <a:lvl8pPr marL="3200400" algn="l" defTabSz="914400" rtl="0" eaLnBrk="1" latinLnBrk="0" hangingPunct="1">
                        <a:defRPr sz="1800" kern="1200">
                          <a:solidFill>
                            <a:schemeClr val="tx1"/>
                          </a:solidFill>
                          <a:latin typeface="Calibri"/>
                          <a:ea typeface="calibri"/>
                        </a:defRPr>
                      </a:lvl8pPr>
                      <a:lvl9pPr marL="3657600" algn="l" defTabSz="914400" rtl="0" eaLnBrk="1" latinLnBrk="0" hangingPunct="1">
                        <a:defRPr sz="1800" kern="1200">
                          <a:solidFill>
                            <a:schemeClr val="tx1"/>
                          </a:solidFill>
                          <a:latin typeface="Calibri"/>
                          <a:ea typeface="calibri"/>
                        </a:defRPr>
                      </a:lvl9pPr>
                    </a:lstStyle>
                    <a:p>
                      <a:pPr algn="ctr" latinLnBrk="1"/>
                      <a:r>
                        <a:rPr lang="en-US" altLang="ko-KR" sz="1400">
                          <a:solidFill>
                            <a:schemeClr val="bg1">
                              <a:lumMod val="50000"/>
                            </a:schemeClr>
                          </a:solidFill>
                          <a:latin typeface="+mn-lt"/>
                          <a:sym typeface="Wingdings" panose="05000000000000000000" pitchFamily="2" charset="2"/>
                        </a:rPr>
                        <a:t></a:t>
                      </a:r>
                      <a:endParaRPr lang="ko-KR" altLang="en-US" sz="1400">
                        <a:solidFill>
                          <a:schemeClr val="bg1">
                            <a:lumMod val="5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marL="0" algn="ctr" defTabSz="914400" rtl="0" eaLnBrk="1" latinLnBrk="1" hangingPunct="1"/>
                      <a:r>
                        <a:rPr lang="en-US" altLang="ko-KR" sz="1400" kern="1200" dirty="0">
                          <a:solidFill>
                            <a:schemeClr val="bg1">
                              <a:lumMod val="50000"/>
                            </a:schemeClr>
                          </a:solidFill>
                          <a:latin typeface="+mn-lt"/>
                          <a:ea typeface="calibri"/>
                          <a:cs typeface="+mn-cs"/>
                        </a:rPr>
                        <a:t>6.4Gbps</a:t>
                      </a:r>
                      <a:endParaRPr lang="ko-KR" altLang="en-US" sz="1400" kern="1200" dirty="0">
                        <a:solidFill>
                          <a:schemeClr val="bg1">
                            <a:lumMod val="50000"/>
                          </a:schemeClr>
                        </a:solidFill>
                        <a:latin typeface="+mn-lt"/>
                        <a:ea typeface="calibri"/>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extLst>
                  <a:ext uri="{0D108BD9-81ED-4DB2-BD59-A6C34878D82A}">
                    <a16:rowId xmlns:a16="http://schemas.microsoft.com/office/drawing/2014/main" val="520170612"/>
                  </a:ext>
                </a:extLst>
              </a:tr>
            </a:tbl>
          </a:graphicData>
        </a:graphic>
      </p:graphicFrame>
      <p:sp>
        <p:nvSpPr>
          <p:cNvPr id="8" name="TextBox 7">
            <a:extLst>
              <a:ext uri="{FF2B5EF4-FFF2-40B4-BE49-F238E27FC236}">
                <a16:creationId xmlns:a16="http://schemas.microsoft.com/office/drawing/2014/main" id="{16AA6645-BBF5-404B-A391-A5EB735ABA90}"/>
              </a:ext>
            </a:extLst>
          </p:cNvPr>
          <p:cNvSpPr txBox="1"/>
          <p:nvPr/>
        </p:nvSpPr>
        <p:spPr>
          <a:xfrm>
            <a:off x="121775" y="5473538"/>
            <a:ext cx="3622502" cy="553998"/>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FF0000"/>
                </a:solidFill>
                <a:effectLst/>
                <a:uLnTx/>
                <a:uFillTx/>
                <a:latin typeface="IntelOne Display Regular"/>
                <a:ea typeface="Helvetica Neue"/>
                <a:cs typeface="Helvetica Neue"/>
              </a:rPr>
              <a:t>1  </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a:t>
            </a:r>
            <a:r>
              <a:rPr kumimoji="0" lang="en-US" altLang="ko-KR" sz="1000" b="0" i="0" u="none" strike="noStrike" kern="1200" cap="none" spc="0" normalizeH="0" baseline="0" noProof="0" err="1">
                <a:ln>
                  <a:noFill/>
                </a:ln>
                <a:solidFill>
                  <a:srgbClr val="525252">
                    <a:lumMod val="50000"/>
                  </a:srgbClr>
                </a:solidFill>
                <a:effectLst/>
                <a:uLnTx/>
                <a:uFillTx/>
                <a:latin typeface="IntelOne Display Regular"/>
                <a:ea typeface="Helvetica Neue"/>
                <a:cs typeface="Helvetica Neue"/>
              </a:rPr>
              <a:t>pj</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bit: Watt/Bandwid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FF0000"/>
                </a:solidFill>
                <a:effectLst/>
                <a:uLnTx/>
                <a:uFillTx/>
                <a:latin typeface="IntelOne Display Regular"/>
                <a:ea typeface="Helvetica Neue"/>
                <a:cs typeface="Helvetica Neue"/>
              </a:rPr>
              <a:t>2 </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Latency (Close page): </a:t>
            </a:r>
            <a:r>
              <a:rPr kumimoji="0" lang="en-US" altLang="ko-KR" sz="1000" b="0" i="0" u="none" strike="noStrike" kern="1200" cap="none" spc="0" normalizeH="0" baseline="0" noProof="0" err="1">
                <a:ln>
                  <a:noFill/>
                </a:ln>
                <a:solidFill>
                  <a:srgbClr val="525252">
                    <a:lumMod val="50000"/>
                  </a:srgbClr>
                </a:solidFill>
                <a:effectLst/>
                <a:uLnTx/>
                <a:uFillTx/>
                <a:latin typeface="IntelOne Display Regular"/>
                <a:ea typeface="Helvetica Neue"/>
                <a:cs typeface="Helvetica Neue"/>
              </a:rPr>
              <a:t>tRCD</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 </a:t>
            </a:r>
            <a:r>
              <a:rPr kumimoji="0" lang="en-US" altLang="ko-KR" sz="1000" b="0" i="0" u="none" strike="noStrike" kern="1200" cap="none" spc="0" normalizeH="0" baseline="0" noProof="0" err="1">
                <a:ln>
                  <a:noFill/>
                </a:ln>
                <a:solidFill>
                  <a:srgbClr val="525252">
                    <a:lumMod val="50000"/>
                  </a:srgbClr>
                </a:solidFill>
                <a:effectLst/>
                <a:uLnTx/>
                <a:uFillTx/>
                <a:latin typeface="IntelOne Display Regular"/>
                <a:ea typeface="Helvetica Neue"/>
                <a:cs typeface="Helvetica Neue"/>
              </a:rPr>
              <a:t>tAA</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ACT~RD + RD~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FF0000"/>
                </a:solidFill>
                <a:effectLst/>
                <a:uLnTx/>
                <a:uFillTx/>
                <a:latin typeface="IntelOne Display Regular"/>
                <a:ea typeface="Helvetica Neue"/>
                <a:cs typeface="Helvetica Neue"/>
              </a:rPr>
              <a:t>3</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Latency (Open page): </a:t>
            </a:r>
            <a:r>
              <a:rPr kumimoji="0" lang="en-US" altLang="ko-KR" sz="1000" b="0" i="0" u="none" strike="noStrike" kern="1200" cap="none" spc="0" normalizeH="0" baseline="0" noProof="0" err="1">
                <a:ln>
                  <a:noFill/>
                </a:ln>
                <a:solidFill>
                  <a:srgbClr val="525252">
                    <a:lumMod val="50000"/>
                  </a:srgbClr>
                </a:solidFill>
                <a:effectLst/>
                <a:uLnTx/>
                <a:uFillTx/>
                <a:latin typeface="IntelOne Display Regular"/>
                <a:ea typeface="Helvetica Neue"/>
                <a:cs typeface="Helvetica Neue"/>
              </a:rPr>
              <a:t>tAA</a:t>
            </a:r>
            <a:r>
              <a:rPr kumimoji="0" lang="en-US" altLang="ko-KR" sz="1000" b="0" i="0" u="none" strike="noStrike" kern="1200" cap="none" spc="0" normalizeH="0" baseline="0" noProof="0">
                <a:ln>
                  <a:noFill/>
                </a:ln>
                <a:solidFill>
                  <a:srgbClr val="525252">
                    <a:lumMod val="50000"/>
                  </a:srgbClr>
                </a:solidFill>
                <a:effectLst/>
                <a:uLnTx/>
                <a:uFillTx/>
                <a:latin typeface="IntelOne Display Regular"/>
                <a:ea typeface="Helvetica Neue"/>
                <a:cs typeface="Helvetica Neue"/>
              </a:rPr>
              <a:t> ( RD~ DATA)</a:t>
            </a:r>
          </a:p>
        </p:txBody>
      </p:sp>
      <p:grpSp>
        <p:nvGrpSpPr>
          <p:cNvPr id="5" name="Group 4">
            <a:extLst>
              <a:ext uri="{FF2B5EF4-FFF2-40B4-BE49-F238E27FC236}">
                <a16:creationId xmlns:a16="http://schemas.microsoft.com/office/drawing/2014/main" id="{24C75298-AFA8-4C6A-ADB6-442FD65CF333}"/>
              </a:ext>
            </a:extLst>
          </p:cNvPr>
          <p:cNvGrpSpPr/>
          <p:nvPr/>
        </p:nvGrpSpPr>
        <p:grpSpPr>
          <a:xfrm>
            <a:off x="495703" y="1014805"/>
            <a:ext cx="2324085" cy="4212803"/>
            <a:chOff x="495703" y="1014805"/>
            <a:chExt cx="2324085" cy="4212803"/>
          </a:xfrm>
        </p:grpSpPr>
        <p:pic>
          <p:nvPicPr>
            <p:cNvPr id="3" name="Picture 2">
              <a:extLst>
                <a:ext uri="{FF2B5EF4-FFF2-40B4-BE49-F238E27FC236}">
                  <a16:creationId xmlns:a16="http://schemas.microsoft.com/office/drawing/2014/main" id="{9429AB7E-FDB7-4A53-AF57-CB98B0FCCE6C}"/>
                </a:ext>
              </a:extLst>
            </p:cNvPr>
            <p:cNvPicPr>
              <a:picLocks noChangeAspect="1"/>
            </p:cNvPicPr>
            <p:nvPr/>
          </p:nvPicPr>
          <p:blipFill>
            <a:blip r:embed="rId2"/>
            <a:stretch>
              <a:fillRect/>
            </a:stretch>
          </p:blipFill>
          <p:spPr>
            <a:xfrm>
              <a:off x="495703" y="1014805"/>
              <a:ext cx="2324084" cy="4212803"/>
            </a:xfrm>
            <a:prstGeom prst="rect">
              <a:avLst/>
            </a:prstGeom>
          </p:spPr>
        </p:pic>
        <p:sp>
          <p:nvSpPr>
            <p:cNvPr id="2" name="TextBox 1">
              <a:extLst>
                <a:ext uri="{FF2B5EF4-FFF2-40B4-BE49-F238E27FC236}">
                  <a16:creationId xmlns:a16="http://schemas.microsoft.com/office/drawing/2014/main" id="{B3BD3068-2E66-4941-A844-33A769AD6190}"/>
                </a:ext>
              </a:extLst>
            </p:cNvPr>
            <p:cNvSpPr txBox="1"/>
            <p:nvPr/>
          </p:nvSpPr>
          <p:spPr>
            <a:xfrm>
              <a:off x="495704" y="1022066"/>
              <a:ext cx="2324084" cy="415498"/>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High-Capacity Macro (1Gbit 1Ch)</a:t>
              </a:r>
            </a:p>
            <a:p>
              <a:pPr algn="ctr" defTabSz="914400">
                <a:defRPr/>
              </a:pPr>
              <a:r>
                <a:rPr lang="en-US" sz="1050" b="1" dirty="0">
                  <a:solidFill>
                    <a:srgbClr val="525252">
                      <a:lumMod val="50000"/>
                    </a:srgbClr>
                  </a:solidFill>
                  <a:latin typeface="IntelOne Display Regular"/>
                  <a:ea typeface="Helvetica Neue"/>
                  <a:cs typeface="Helvetica Neue"/>
                </a:rPr>
                <a:t>21</a:t>
              </a:r>
              <a:r>
                <a:rPr kumimoji="0" lang="en-US" sz="1050" b="1" i="0" u="none" strike="noStrike" kern="1200" cap="none" spc="0" normalizeH="0" baseline="0" noProof="0" dirty="0">
                  <a:ln>
                    <a:noFill/>
                  </a:ln>
                  <a:solidFill>
                    <a:srgbClr val="525252">
                      <a:lumMod val="50000"/>
                    </a:srgbClr>
                  </a:solidFill>
                  <a:effectLst/>
                  <a:uLnTx/>
                  <a:uFillTx/>
                  <a:latin typeface="IntelOne Display Regular"/>
                  <a:ea typeface="Helvetica Neue"/>
                  <a:cs typeface="Helvetica Neue"/>
                </a:rPr>
                <a:t>MB/mm2, 32GB/s, 1.5pJ/b</a:t>
              </a:r>
            </a:p>
          </p:txBody>
        </p:sp>
      </p:grpSp>
      <p:sp>
        <p:nvSpPr>
          <p:cNvPr id="11" name="TextBox 10">
            <a:extLst>
              <a:ext uri="{FF2B5EF4-FFF2-40B4-BE49-F238E27FC236}">
                <a16:creationId xmlns:a16="http://schemas.microsoft.com/office/drawing/2014/main" id="{CB665A1B-0FEE-4552-A258-511B80E11322}"/>
              </a:ext>
            </a:extLst>
          </p:cNvPr>
          <p:cNvSpPr txBox="1"/>
          <p:nvPr/>
        </p:nvSpPr>
        <p:spPr>
          <a:xfrm>
            <a:off x="4395747" y="6010341"/>
            <a:ext cx="6833823"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IntelOne Display Regular"/>
                <a:ea typeface="Helvetica Neue"/>
                <a:cs typeface="Helvetica Neue"/>
              </a:rPr>
              <a:t>*TSV overhead not included. No-SerDes circuit assum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IntelOne Display Regular"/>
                <a:ea typeface="Helvetica Neue"/>
                <a:cs typeface="Helvetica Neue"/>
              </a:rPr>
              <a:t>**</a:t>
            </a:r>
            <a:r>
              <a:rPr kumimoji="0" lang="en-US" sz="1200" b="0" i="0" u="none" strike="noStrike" kern="1200" cap="none" spc="0" normalizeH="0" baseline="0" noProof="0" err="1">
                <a:ln>
                  <a:noFill/>
                </a:ln>
                <a:solidFill>
                  <a:srgbClr val="FFFFFF"/>
                </a:solidFill>
                <a:effectLst/>
                <a:uLnTx/>
                <a:uFillTx/>
                <a:latin typeface="IntelOne Display Regular"/>
                <a:ea typeface="Helvetica Neue"/>
                <a:cs typeface="Helvetica Neue"/>
              </a:rPr>
              <a:t>pJ</a:t>
            </a:r>
            <a:r>
              <a:rPr kumimoji="0" lang="en-US" sz="1200" b="0" i="0" u="none" strike="noStrike" kern="1200" cap="none" spc="0" normalizeH="0" baseline="0" noProof="0">
                <a:ln>
                  <a:noFill/>
                </a:ln>
                <a:solidFill>
                  <a:srgbClr val="FFFFFF"/>
                </a:solidFill>
                <a:effectLst/>
                <a:uLnTx/>
                <a:uFillTx/>
                <a:latin typeface="IntelOne Display Regular"/>
                <a:ea typeface="Helvetica Neue"/>
                <a:cs typeface="Helvetica Neue"/>
              </a:rPr>
              <a:t>/bit and latency numbers above are at macro level and do not account for base die/3D stack costs</a:t>
            </a:r>
          </a:p>
        </p:txBody>
      </p:sp>
      <p:pic>
        <p:nvPicPr>
          <p:cNvPr id="6" name="Picture 5">
            <a:extLst>
              <a:ext uri="{FF2B5EF4-FFF2-40B4-BE49-F238E27FC236}">
                <a16:creationId xmlns:a16="http://schemas.microsoft.com/office/drawing/2014/main" id="{B18A255A-296F-A5FC-9DC6-586F1A3265B3}"/>
              </a:ext>
            </a:extLst>
          </p:cNvPr>
          <p:cNvPicPr>
            <a:picLocks noChangeAspect="1"/>
          </p:cNvPicPr>
          <p:nvPr/>
        </p:nvPicPr>
        <p:blipFill>
          <a:blip r:embed="rId3"/>
          <a:stretch>
            <a:fillRect/>
          </a:stretch>
        </p:blipFill>
        <p:spPr>
          <a:xfrm>
            <a:off x="3868674" y="3062184"/>
            <a:ext cx="2236667" cy="3436667"/>
          </a:xfrm>
          <a:prstGeom prst="rect">
            <a:avLst/>
          </a:prstGeom>
        </p:spPr>
      </p:pic>
    </p:spTree>
    <p:extLst>
      <p:ext uri="{BB962C8B-B14F-4D97-AF65-F5344CB8AC3E}">
        <p14:creationId xmlns:p14="http://schemas.microsoft.com/office/powerpoint/2010/main" val="15362536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00C93C-D2D5-9C17-BF1C-E496757FFE75}"/>
              </a:ext>
            </a:extLst>
          </p:cNvPr>
          <p:cNvPicPr>
            <a:picLocks noChangeAspect="1"/>
          </p:cNvPicPr>
          <p:nvPr/>
        </p:nvPicPr>
        <p:blipFill>
          <a:blip r:embed="rId2"/>
          <a:stretch>
            <a:fillRect/>
          </a:stretch>
        </p:blipFill>
        <p:spPr>
          <a:xfrm>
            <a:off x="557380" y="364331"/>
            <a:ext cx="11077239" cy="6129338"/>
          </a:xfrm>
          <a:prstGeom prst="rect">
            <a:avLst/>
          </a:prstGeom>
        </p:spPr>
      </p:pic>
    </p:spTree>
    <p:extLst>
      <p:ext uri="{BB962C8B-B14F-4D97-AF65-F5344CB8AC3E}">
        <p14:creationId xmlns:p14="http://schemas.microsoft.com/office/powerpoint/2010/main" val="38728302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288688-CF3A-F3A1-1884-D0B0CE090D8F}"/>
              </a:ext>
            </a:extLst>
          </p:cNvPr>
          <p:cNvPicPr>
            <a:picLocks noChangeAspect="1"/>
          </p:cNvPicPr>
          <p:nvPr/>
        </p:nvPicPr>
        <p:blipFill>
          <a:blip r:embed="rId2"/>
          <a:stretch>
            <a:fillRect/>
          </a:stretch>
        </p:blipFill>
        <p:spPr>
          <a:xfrm>
            <a:off x="776287" y="481012"/>
            <a:ext cx="10639425" cy="5895975"/>
          </a:xfrm>
          <a:prstGeom prst="rect">
            <a:avLst/>
          </a:prstGeom>
        </p:spPr>
      </p:pic>
    </p:spTree>
    <p:extLst>
      <p:ext uri="{BB962C8B-B14F-4D97-AF65-F5344CB8AC3E}">
        <p14:creationId xmlns:p14="http://schemas.microsoft.com/office/powerpoint/2010/main" val="5816573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0C3018-F331-A057-ED53-9490FB8DBF01}"/>
              </a:ext>
            </a:extLst>
          </p:cNvPr>
          <p:cNvPicPr>
            <a:picLocks noChangeAspect="1"/>
          </p:cNvPicPr>
          <p:nvPr/>
        </p:nvPicPr>
        <p:blipFill>
          <a:blip r:embed="rId2"/>
          <a:stretch>
            <a:fillRect/>
          </a:stretch>
        </p:blipFill>
        <p:spPr>
          <a:xfrm>
            <a:off x="76200" y="228600"/>
            <a:ext cx="11830050" cy="6152490"/>
          </a:xfrm>
          <a:prstGeom prst="rect">
            <a:avLst/>
          </a:prstGeom>
        </p:spPr>
      </p:pic>
    </p:spTree>
    <p:extLst>
      <p:ext uri="{BB962C8B-B14F-4D97-AF65-F5344CB8AC3E}">
        <p14:creationId xmlns:p14="http://schemas.microsoft.com/office/powerpoint/2010/main" val="41849316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2AB135-CE68-6818-29BB-572A4FFF6D3C}"/>
              </a:ext>
            </a:extLst>
          </p:cNvPr>
          <p:cNvPicPr>
            <a:picLocks noChangeAspect="1"/>
          </p:cNvPicPr>
          <p:nvPr/>
        </p:nvPicPr>
        <p:blipFill>
          <a:blip r:embed="rId2"/>
          <a:stretch>
            <a:fillRect/>
          </a:stretch>
        </p:blipFill>
        <p:spPr>
          <a:xfrm>
            <a:off x="723708" y="381000"/>
            <a:ext cx="10744584" cy="5867399"/>
          </a:xfrm>
          <a:prstGeom prst="rect">
            <a:avLst/>
          </a:prstGeom>
        </p:spPr>
      </p:pic>
    </p:spTree>
    <p:extLst>
      <p:ext uri="{BB962C8B-B14F-4D97-AF65-F5344CB8AC3E}">
        <p14:creationId xmlns:p14="http://schemas.microsoft.com/office/powerpoint/2010/main" val="20278890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3D510C-970C-543B-0EC4-147CF61485AD}"/>
              </a:ext>
            </a:extLst>
          </p:cNvPr>
          <p:cNvPicPr>
            <a:picLocks noChangeAspect="1"/>
          </p:cNvPicPr>
          <p:nvPr/>
        </p:nvPicPr>
        <p:blipFill>
          <a:blip r:embed="rId2"/>
          <a:stretch>
            <a:fillRect/>
          </a:stretch>
        </p:blipFill>
        <p:spPr>
          <a:xfrm>
            <a:off x="868865" y="363013"/>
            <a:ext cx="10454269" cy="6131974"/>
          </a:xfrm>
          <a:prstGeom prst="rect">
            <a:avLst/>
          </a:prstGeom>
        </p:spPr>
      </p:pic>
    </p:spTree>
    <p:extLst>
      <p:ext uri="{BB962C8B-B14F-4D97-AF65-F5344CB8AC3E}">
        <p14:creationId xmlns:p14="http://schemas.microsoft.com/office/powerpoint/2010/main" val="29107886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2AF202D-9F52-42A0-8562-530691DB715A}"/>
              </a:ext>
            </a:extLst>
          </p:cNvPr>
          <p:cNvPicPr>
            <a:picLocks noChangeAspect="1"/>
          </p:cNvPicPr>
          <p:nvPr/>
        </p:nvPicPr>
        <p:blipFill>
          <a:blip r:embed="rId2"/>
          <a:stretch>
            <a:fillRect/>
          </a:stretch>
        </p:blipFill>
        <p:spPr>
          <a:xfrm>
            <a:off x="897467" y="2791178"/>
            <a:ext cx="5384800" cy="2133600"/>
          </a:xfrm>
          <a:prstGeom prst="rect">
            <a:avLst/>
          </a:prstGeom>
        </p:spPr>
      </p:pic>
      <p:sp>
        <p:nvSpPr>
          <p:cNvPr id="4" name="TextBox 3">
            <a:extLst>
              <a:ext uri="{FF2B5EF4-FFF2-40B4-BE49-F238E27FC236}">
                <a16:creationId xmlns:a16="http://schemas.microsoft.com/office/drawing/2014/main" id="{5640C1E0-E19A-823E-AFC9-E1A7614791E3}"/>
              </a:ext>
            </a:extLst>
          </p:cNvPr>
          <p:cNvSpPr txBox="1"/>
          <p:nvPr/>
        </p:nvSpPr>
        <p:spPr>
          <a:xfrm>
            <a:off x="541867" y="1932451"/>
            <a:ext cx="6096000" cy="763542"/>
          </a:xfrm>
          <a:prstGeom prst="rect">
            <a:avLst/>
          </a:prstGeom>
          <a:noFill/>
        </p:spPr>
        <p:txBody>
          <a:bodyPr wrap="square">
            <a:spAutoFit/>
          </a:bodyPr>
          <a:lstStyle/>
          <a:p>
            <a:r>
              <a:rPr lang="en-US" dirty="0">
                <a:hlinkClick r:id="rId3"/>
              </a:rPr>
              <a:t>https://www.maltiel-consulting.com/Hynix-DRAM-31Vs44nm-layout.html</a:t>
            </a:r>
            <a:r>
              <a:rPr lang="en-US" dirty="0"/>
              <a:t> </a:t>
            </a:r>
          </a:p>
        </p:txBody>
      </p:sp>
    </p:spTree>
    <p:extLst>
      <p:ext uri="{BB962C8B-B14F-4D97-AF65-F5344CB8AC3E}">
        <p14:creationId xmlns:p14="http://schemas.microsoft.com/office/powerpoint/2010/main" val="19506949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15414F-B64E-4633-9FC7-3AEA6DA322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0" imgH="393" progId="TCLayout.ActiveDocument.1">
                  <p:embed/>
                </p:oleObj>
              </mc:Choice>
              <mc:Fallback>
                <p:oleObj name="think-cell Slide" r:id="rId5" imgW="400" imgH="393" progId="TCLayout.ActiveDocument.1">
                  <p:embed/>
                  <p:pic>
                    <p:nvPicPr>
                      <p:cNvPr id="5" name="Object 4" hidden="1">
                        <a:extLst>
                          <a:ext uri="{FF2B5EF4-FFF2-40B4-BE49-F238E27FC236}">
                            <a16:creationId xmlns:a16="http://schemas.microsoft.com/office/drawing/2014/main" id="{3915414F-B64E-4633-9FC7-3AEA6DA322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AC9395C-8F76-407A-899A-26619F3E6027}"/>
              </a:ext>
            </a:extLst>
          </p:cNvPr>
          <p:cNvSpPr/>
          <p:nvPr>
            <p:custDataLst>
              <p:tags r:id="rId2"/>
            </p:custDataLst>
          </p:nvPr>
        </p:nvSpPr>
        <p:spPr>
          <a:xfrm>
            <a:off x="0" y="0"/>
            <a:ext cx="158750" cy="15875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IntelOne Display Light" panose="020B0403020203020204" pitchFamily="34" charset="0"/>
              <a:ea typeface="Intel Clear Light" panose="020B0404020203020204" pitchFamily="34" charset="0"/>
              <a:cs typeface="Intel Clear Light" panose="020B0404020203020204" pitchFamily="34" charset="0"/>
              <a:sym typeface="Intel Clear Light" panose="020B0404020203020204" pitchFamily="34" charset="0"/>
            </a:endParaRPr>
          </a:p>
        </p:txBody>
      </p:sp>
      <p:sp>
        <p:nvSpPr>
          <p:cNvPr id="2" name="Title 1">
            <a:extLst>
              <a:ext uri="{FF2B5EF4-FFF2-40B4-BE49-F238E27FC236}">
                <a16:creationId xmlns:a16="http://schemas.microsoft.com/office/drawing/2014/main" id="{0B843D97-95C2-49F9-A349-9A9AFEA726D2}"/>
              </a:ext>
            </a:extLst>
          </p:cNvPr>
          <p:cNvSpPr>
            <a:spLocks noGrp="1"/>
          </p:cNvSpPr>
          <p:nvPr>
            <p:ph type="title"/>
          </p:nvPr>
        </p:nvSpPr>
        <p:spPr>
          <a:xfrm>
            <a:off x="125841" y="257779"/>
            <a:ext cx="10685033" cy="994547"/>
          </a:xfrm>
        </p:spPr>
        <p:txBody>
          <a:bodyPr lIns="0" tIns="0" rIns="0" bIns="0" anchor="t">
            <a:noAutofit/>
          </a:bodyPr>
          <a:lstStyle/>
          <a:p>
            <a:r>
              <a:rPr lang="en-US" sz="2400" b="1" dirty="0">
                <a:latin typeface="Calibri" panose="020F0502020204030204" pitchFamily="34" charset="0"/>
                <a:cs typeface="Calibri" panose="020F0502020204030204" pitchFamily="34" charset="0"/>
              </a:rPr>
              <a:t>3D System implementation </a:t>
            </a:r>
            <a:r>
              <a:rPr lang="en-US" sz="2400" b="1" dirty="0">
                <a:solidFill>
                  <a:srgbClr val="525252"/>
                </a:solidFill>
                <a:effectLst/>
                <a:latin typeface="Calibri" panose="020F0502020204030204" pitchFamily="34" charset="0"/>
                <a:ea typeface="PMingLiU" panose="02020500000000000000" pitchFamily="18" charset="-120"/>
                <a:cs typeface="Calibri" panose="020F0502020204030204" pitchFamily="34" charset="0"/>
              </a:rPr>
              <a:t>for ARL/ELASTI with ADM memory learning</a:t>
            </a:r>
            <a:endParaRPr lang="en-US" sz="2400" b="1" dirty="0">
              <a:solidFill>
                <a:schemeClr val="accent1"/>
              </a:solidFill>
              <a:latin typeface="Calibri" panose="020F0502020204030204" pitchFamily="34" charset="0"/>
              <a:cs typeface="Calibri" panose="020F0502020204030204" pitchFamily="34" charset="0"/>
            </a:endParaRPr>
          </a:p>
        </p:txBody>
      </p:sp>
      <p:sp>
        <p:nvSpPr>
          <p:cNvPr id="10" name="Content Placeholder 9">
            <a:extLst>
              <a:ext uri="{FF2B5EF4-FFF2-40B4-BE49-F238E27FC236}">
                <a16:creationId xmlns:a16="http://schemas.microsoft.com/office/drawing/2014/main" id="{7BF489A2-6BC8-4AD2-BEF4-AA2F83446ED2}"/>
              </a:ext>
            </a:extLst>
          </p:cNvPr>
          <p:cNvSpPr>
            <a:spLocks noGrp="1"/>
          </p:cNvSpPr>
          <p:nvPr>
            <p:ph sz="half" idx="1"/>
          </p:nvPr>
        </p:nvSpPr>
        <p:spPr>
          <a:xfrm>
            <a:off x="172243" y="814645"/>
            <a:ext cx="5572468" cy="5397623"/>
          </a:xfrm>
        </p:spPr>
        <p:txBody>
          <a:bodyPr>
            <a:normAutofit fontScale="92500" lnSpcReduction="20000"/>
          </a:bodyPr>
          <a:lstStyle/>
          <a:p>
            <a:pPr marL="0" lvl="0" indent="0">
              <a:spcBef>
                <a:spcPts val="0"/>
              </a:spcBef>
              <a:buNone/>
            </a:pPr>
            <a:r>
              <a:rPr lang="en-US" sz="1600" dirty="0">
                <a:solidFill>
                  <a:schemeClr val="accent1"/>
                </a:solidFill>
                <a:latin typeface="IntelOne Display Medium" panose="020B0703020203020204" pitchFamily="34" charset="0"/>
                <a:sym typeface="Helvetica Neue Medium"/>
              </a:rPr>
              <a:t>Key Messages</a:t>
            </a:r>
          </a:p>
          <a:p>
            <a:pPr lvl="0">
              <a:spcBef>
                <a:spcPts val="0"/>
              </a:spcBef>
            </a:pPr>
            <a:r>
              <a:rPr lang="en-US" sz="1600" b="1" dirty="0">
                <a:latin typeface="Calibri" panose="020F0502020204030204" pitchFamily="34" charset="0"/>
                <a:cs typeface="Calibri" panose="020F0502020204030204" pitchFamily="34" charset="0"/>
              </a:rPr>
              <a:t>ARL-px/ELASTI identified as the show piece intro for low latency/high bandwidth ADM memory technology</a:t>
            </a:r>
          </a:p>
          <a:p>
            <a:pPr marL="342900" lvl="1" indent="-114300">
              <a:spcBef>
                <a:spcPts val="0"/>
              </a:spcBef>
            </a:pPr>
            <a:r>
              <a:rPr lang="en-US" sz="1400" b="1" dirty="0">
                <a:latin typeface="Calibri" panose="020F0502020204030204" pitchFamily="34" charset="0"/>
                <a:cs typeface="Calibri" panose="020F0502020204030204" pitchFamily="34" charset="0"/>
              </a:rPr>
              <a:t>ARL/ELASTI families cover both w/ADM  and w/o ADM offerings</a:t>
            </a:r>
          </a:p>
          <a:p>
            <a:pPr marL="342900" lvl="1" indent="-114300">
              <a:spcBef>
                <a:spcPts val="0"/>
              </a:spcBef>
            </a:pPr>
            <a:r>
              <a:rPr lang="en-US" sz="1400" b="1" dirty="0">
                <a:latin typeface="Calibri" panose="020F0502020204030204" pitchFamily="34" charset="0"/>
                <a:cs typeface="Calibri" panose="020F0502020204030204" pitchFamily="34" charset="0"/>
              </a:rPr>
              <a:t>ADM L3 memory option should be no worse than AMD’s 7nm V-cache</a:t>
            </a:r>
          </a:p>
          <a:p>
            <a:pPr lvl="2">
              <a:spcBef>
                <a:spcPts val="0"/>
              </a:spcBef>
            </a:pPr>
            <a:r>
              <a:rPr lang="en-US" sz="1100" dirty="0">
                <a:latin typeface="Calibri" panose="020F0502020204030204" pitchFamily="34" charset="0"/>
                <a:cs typeface="Calibri" panose="020F0502020204030204" pitchFamily="34" charset="0"/>
              </a:rPr>
              <a:t>L3 cache size -</a:t>
            </a:r>
            <a:r>
              <a:rPr lang="en-US" sz="1100" b="1" dirty="0">
                <a:solidFill>
                  <a:schemeClr val="accent1"/>
                </a:solidFill>
                <a:latin typeface="Calibri" panose="020F0502020204030204" pitchFamily="34" charset="0"/>
                <a:cs typeface="Calibri" panose="020F0502020204030204" pitchFamily="34" charset="0"/>
              </a:rPr>
              <a:t>180-456MB(ELASTI)/640MB(ARL-px)</a:t>
            </a:r>
            <a:r>
              <a:rPr lang="en-US" sz="1100" dirty="0">
                <a:latin typeface="Calibri" panose="020F0502020204030204" pitchFamily="34" charset="0"/>
                <a:cs typeface="Calibri" panose="020F0502020204030204" pitchFamily="34" charset="0"/>
              </a:rPr>
              <a:t> vs. AMD’s V-cache 2x64=</a:t>
            </a:r>
            <a:r>
              <a:rPr lang="en-US" sz="1100" b="1" dirty="0">
                <a:solidFill>
                  <a:schemeClr val="accent1"/>
                </a:solidFill>
                <a:latin typeface="Calibri" panose="020F0502020204030204" pitchFamily="34" charset="0"/>
                <a:cs typeface="Calibri" panose="020F0502020204030204" pitchFamily="34" charset="0"/>
              </a:rPr>
              <a:t>128 MB</a:t>
            </a:r>
          </a:p>
          <a:p>
            <a:pPr lvl="2">
              <a:spcBef>
                <a:spcPts val="0"/>
              </a:spcBef>
            </a:pPr>
            <a:r>
              <a:rPr lang="en-US" sz="1100" dirty="0">
                <a:latin typeface="Calibri" panose="020F0502020204030204" pitchFamily="34" charset="0"/>
                <a:cs typeface="Calibri" panose="020F0502020204030204" pitchFamily="34" charset="0"/>
              </a:rPr>
              <a:t>ADM memory </a:t>
            </a:r>
            <a:r>
              <a:rPr lang="en-US" sz="1100" b="1" u="sng" dirty="0">
                <a:solidFill>
                  <a:schemeClr val="accent1"/>
                </a:solidFill>
                <a:latin typeface="Calibri" panose="020F0502020204030204" pitchFamily="34" charset="0"/>
                <a:cs typeface="Calibri" panose="020F0502020204030204" pitchFamily="34" charset="0"/>
              </a:rPr>
              <a:t>cost per bit </a:t>
            </a:r>
            <a:r>
              <a:rPr lang="en-US" sz="1100" dirty="0">
                <a:latin typeface="Calibri" panose="020F0502020204030204" pitchFamily="34" charset="0"/>
                <a:cs typeface="Calibri" panose="020F0502020204030204" pitchFamily="34" charset="0"/>
              </a:rPr>
              <a:t>still cheaper than SRAM; but </a:t>
            </a:r>
            <a:r>
              <a:rPr lang="en-US" sz="1100" b="1" u="sng" dirty="0">
                <a:latin typeface="Calibri" panose="020F0502020204030204" pitchFamily="34" charset="0"/>
                <a:cs typeface="Calibri" panose="020F0502020204030204" pitchFamily="34" charset="0"/>
              </a:rPr>
              <a:t>both approaches are expensive compared to commodity HBM DRAM using 2.5D interposer approach </a:t>
            </a:r>
          </a:p>
          <a:p>
            <a:pPr lvl="3">
              <a:spcBef>
                <a:spcPts val="0"/>
              </a:spcBef>
            </a:pPr>
            <a:r>
              <a:rPr lang="en-US" sz="1000" dirty="0">
                <a:latin typeface="Calibri" panose="020F0502020204030204" pitchFamily="34" charset="0"/>
                <a:cs typeface="Calibri" panose="020F0502020204030204" pitchFamily="34" charset="0"/>
              </a:rPr>
              <a:t>Higher memory density benefit (~2x; 4.4 vs. 1.77MB/mm2)</a:t>
            </a:r>
          </a:p>
          <a:p>
            <a:pPr lvl="3">
              <a:spcBef>
                <a:spcPts val="0"/>
              </a:spcBef>
            </a:pPr>
            <a:r>
              <a:rPr lang="en-US" sz="1000" dirty="0">
                <a:latin typeface="Calibri" panose="020F0502020204030204" pitchFamily="34" charset="0"/>
                <a:cs typeface="Calibri" panose="020F0502020204030204" pitchFamily="34" charset="0"/>
              </a:rPr>
              <a:t>ADM wafer(22nm) is still the cheapest wafer vs N7/N5 chiplets in MTL/ARL/ELASTI</a:t>
            </a:r>
          </a:p>
          <a:p>
            <a:pPr lvl="3">
              <a:spcBef>
                <a:spcPts val="0"/>
              </a:spcBef>
            </a:pPr>
            <a:endParaRPr lang="en-US" sz="1000" dirty="0">
              <a:latin typeface="Calibri" panose="020F0502020204030204" pitchFamily="34" charset="0"/>
              <a:cs typeface="Calibri" panose="020F0502020204030204" pitchFamily="34" charset="0"/>
            </a:endParaRPr>
          </a:p>
          <a:p>
            <a:pPr lvl="0">
              <a:spcBef>
                <a:spcPts val="0"/>
              </a:spcBef>
            </a:pPr>
            <a:r>
              <a:rPr lang="en-US" sz="1600" b="1" dirty="0">
                <a:latin typeface="Calibri" panose="020F0502020204030204" pitchFamily="34" charset="0"/>
                <a:cs typeface="Calibri" panose="020F0502020204030204" pitchFamily="34" charset="0"/>
              </a:rPr>
              <a:t>1</a:t>
            </a:r>
            <a:r>
              <a:rPr lang="en-US" sz="1600" b="1" baseline="30000" dirty="0">
                <a:latin typeface="Calibri" panose="020F0502020204030204" pitchFamily="34" charset="0"/>
                <a:cs typeface="Calibri" panose="020F0502020204030204" pitchFamily="34" charset="0"/>
              </a:rPr>
              <a:t>st</a:t>
            </a:r>
            <a:r>
              <a:rPr lang="en-US" sz="1600" b="1" dirty="0">
                <a:latin typeface="Calibri" panose="020F0502020204030204" pitchFamily="34" charset="0"/>
                <a:cs typeface="Calibri" panose="020F0502020204030204" pitchFamily="34" charset="0"/>
              </a:rPr>
              <a:t> generation 3D HIP product implementation learning </a:t>
            </a:r>
          </a:p>
          <a:p>
            <a:pPr marL="342900" lvl="1" indent="-114300">
              <a:spcBef>
                <a:spcPts val="0"/>
              </a:spcBef>
            </a:pPr>
            <a:r>
              <a:rPr lang="en-US" sz="1400" b="1" dirty="0">
                <a:latin typeface="Calibri" panose="020F0502020204030204" pitchFamily="34" charset="0"/>
                <a:cs typeface="Calibri" panose="020F0502020204030204" pitchFamily="34" charset="0"/>
              </a:rPr>
              <a:t>Memory density can drop as high as 70-80% in final implementation</a:t>
            </a:r>
          </a:p>
          <a:p>
            <a:pPr marL="654844" lvl="2" indent="-171450">
              <a:spcBef>
                <a:spcPts val="0"/>
              </a:spcBef>
            </a:pPr>
            <a:r>
              <a:rPr lang="en-US" sz="1100" dirty="0">
                <a:latin typeface="Calibri" panose="020F0502020204030204" pitchFamily="34" charset="0"/>
                <a:cs typeface="Calibri" panose="020F0502020204030204" pitchFamily="34" charset="0"/>
              </a:rPr>
              <a:t>High 3D packaging area overhead (30-50% memory penalty) needed in 3D HIP system </a:t>
            </a:r>
          </a:p>
          <a:p>
            <a:pPr marL="654844" lvl="2" indent="-171450">
              <a:spcBef>
                <a:spcPts val="0"/>
              </a:spcBef>
            </a:pPr>
            <a:r>
              <a:rPr lang="en-US" sz="1100" dirty="0">
                <a:latin typeface="Calibri" panose="020F0502020204030204" pitchFamily="34" charset="0"/>
                <a:cs typeface="Calibri" panose="020F0502020204030204" pitchFamily="34" charset="0"/>
              </a:rPr>
              <a:t>Memory data block size decision (Peripherals +TSV OH) – another 20% area delta  </a:t>
            </a:r>
          </a:p>
          <a:p>
            <a:pPr marL="342900" lvl="1" indent="-114300">
              <a:spcBef>
                <a:spcPts val="0"/>
              </a:spcBef>
            </a:pPr>
            <a:r>
              <a:rPr lang="en-US" sz="1400" b="1" u="sng" dirty="0">
                <a:latin typeface="Calibri" panose="020F0502020204030204" pitchFamily="34" charset="0"/>
                <a:cs typeface="Calibri" panose="020F0502020204030204" pitchFamily="34" charset="0"/>
              </a:rPr>
              <a:t>DTCO optimization</a:t>
            </a:r>
            <a:r>
              <a:rPr lang="en-US" sz="140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 Significant 3D construction TAX needed for SRAM/DRAM wafers &amp; various chiplets to address both power/IO/TSV routing issues.</a:t>
            </a:r>
          </a:p>
          <a:p>
            <a:pPr lvl="1">
              <a:spcBef>
                <a:spcPts val="0"/>
              </a:spcBef>
            </a:pPr>
            <a:endParaRPr lang="en-US" sz="1100" dirty="0">
              <a:latin typeface="Calibri" panose="020F0502020204030204" pitchFamily="34" charset="0"/>
              <a:cs typeface="Calibri" panose="020F0502020204030204" pitchFamily="34" charset="0"/>
            </a:endParaRPr>
          </a:p>
          <a:p>
            <a:pPr>
              <a:spcBef>
                <a:spcPts val="0"/>
              </a:spcBef>
            </a:pPr>
            <a:r>
              <a:rPr lang="en-US" sz="1600" b="1" dirty="0">
                <a:latin typeface="Calibri" panose="020F0502020204030204" pitchFamily="34" charset="0"/>
                <a:cs typeface="Calibri" panose="020F0502020204030204" pitchFamily="34" charset="0"/>
              </a:rPr>
              <a:t>3D HIPs w/ </a:t>
            </a:r>
            <a:r>
              <a:rPr lang="en-US" sz="1600" b="1" u="sng" dirty="0">
                <a:latin typeface="Calibri" panose="020F0502020204030204" pitchFamily="34" charset="0"/>
                <a:cs typeface="Calibri" panose="020F0502020204030204" pitchFamily="34" charset="0"/>
              </a:rPr>
              <a:t>TCM using customized DRAM </a:t>
            </a:r>
            <a:r>
              <a:rPr lang="en-US" sz="1600" b="1" dirty="0">
                <a:latin typeface="Calibri" panose="020F0502020204030204" pitchFamily="34" charset="0"/>
                <a:cs typeface="Calibri" panose="020F0502020204030204" pitchFamily="34" charset="0"/>
              </a:rPr>
              <a:t>should be explored as a cheaper alternative due to its mature and predictable DRAM roadmap. Quick execution to see its performance/power limit.</a:t>
            </a:r>
            <a:endParaRPr lang="en-US" sz="1600" dirty="0">
              <a:latin typeface="Calibri" panose="020F0502020204030204" pitchFamily="34" charset="0"/>
              <a:cs typeface="Calibri" panose="020F0502020204030204" pitchFamily="34" charset="0"/>
            </a:endParaRPr>
          </a:p>
          <a:p>
            <a:pPr lvl="0">
              <a:spcBef>
                <a:spcPts val="0"/>
              </a:spcBef>
            </a:pPr>
            <a:endParaRPr lang="en-US" sz="1600" b="1" dirty="0">
              <a:latin typeface="Calibri" panose="020F0502020204030204" pitchFamily="34" charset="0"/>
              <a:cs typeface="Calibri" panose="020F0502020204030204" pitchFamily="34" charset="0"/>
            </a:endParaRPr>
          </a:p>
          <a:p>
            <a:pPr marL="0" lvl="0" indent="0">
              <a:spcBef>
                <a:spcPts val="0"/>
              </a:spcBef>
              <a:buNone/>
            </a:pPr>
            <a:endParaRPr lang="en-US" sz="100" dirty="0"/>
          </a:p>
          <a:p>
            <a:pPr marL="0" lvl="0" indent="0">
              <a:spcBef>
                <a:spcPts val="0"/>
              </a:spcBef>
              <a:buNone/>
            </a:pPr>
            <a:r>
              <a:rPr lang="en-US" sz="1600" dirty="0">
                <a:solidFill>
                  <a:schemeClr val="accent1"/>
                </a:solidFill>
                <a:latin typeface="IntelOne Display Medium" panose="020B0703020203020204" pitchFamily="34" charset="0"/>
                <a:sym typeface="Helvetica Neue Medium"/>
              </a:rPr>
              <a:t>Next Step Actions</a:t>
            </a:r>
          </a:p>
          <a:p>
            <a:pPr>
              <a:spcBef>
                <a:spcPts val="0"/>
              </a:spcBef>
            </a:pPr>
            <a:r>
              <a:rPr lang="en-US" sz="1600" b="1" dirty="0">
                <a:latin typeface="Calibri" panose="020F0502020204030204" pitchFamily="34" charset="0"/>
                <a:cs typeface="Calibri" panose="020F0502020204030204" pitchFamily="34" charset="0"/>
              </a:rPr>
              <a:t>LNL – ODI 3D HIP packaging – better XPU/memory pairing, less chip area penalty due to 3D construction </a:t>
            </a:r>
          </a:p>
          <a:p>
            <a:pPr>
              <a:spcBef>
                <a:spcPts val="0"/>
              </a:spcBef>
            </a:pPr>
            <a:r>
              <a:rPr lang="en-US" sz="1600" b="1" dirty="0">
                <a:latin typeface="Calibri" panose="020F0502020204030204" pitchFamily="34" charset="0"/>
                <a:cs typeface="Calibri" panose="020F0502020204030204" pitchFamily="34" charset="0"/>
              </a:rPr>
              <a:t>3D HB for Memory Cube project launched internally to drive 3DIC HB packaging capabilities</a:t>
            </a:r>
          </a:p>
          <a:p>
            <a:pPr lvl="1">
              <a:spcBef>
                <a:spcPts val="0"/>
              </a:spcBef>
            </a:pPr>
            <a:r>
              <a:rPr lang="en-US" sz="1200" dirty="0">
                <a:latin typeface="Calibri" panose="020F0502020204030204" pitchFamily="34" charset="0"/>
                <a:cs typeface="Calibri" panose="020F0502020204030204" pitchFamily="34" charset="0"/>
              </a:rPr>
              <a:t>Open external 3D HB alternatives using TCM or SRAM directly?</a:t>
            </a:r>
          </a:p>
          <a:p>
            <a:pPr>
              <a:spcBef>
                <a:spcPts val="0"/>
              </a:spcBef>
            </a:pPr>
            <a:r>
              <a:rPr lang="en-US" sz="1600" b="1" dirty="0">
                <a:latin typeface="Calibri" panose="020F0502020204030204" pitchFamily="34" charset="0"/>
                <a:cs typeface="Calibri" panose="020F0502020204030204" pitchFamily="34" charset="0"/>
              </a:rPr>
              <a:t>TCM integration w/ internal XPU using customized DRAM wafer</a:t>
            </a:r>
          </a:p>
          <a:p>
            <a:pPr marL="0" indent="0">
              <a:spcBef>
                <a:spcPts val="0"/>
              </a:spcBef>
              <a:buNone/>
            </a:pPr>
            <a:endParaRPr lang="en-US" sz="1600" b="1" dirty="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3AB047E3-24A4-4A49-989C-63768FD131BE}"/>
              </a:ext>
            </a:extLst>
          </p:cNvPr>
          <p:cNvSpPr txBox="1"/>
          <p:nvPr/>
        </p:nvSpPr>
        <p:spPr>
          <a:xfrm>
            <a:off x="6937695" y="2761596"/>
            <a:ext cx="3993693"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1400" b="0" u="none" strike="noStrike" cap="none" spc="0" normalizeH="0" baseline="0">
                <a:ln>
                  <a:noFill/>
                </a:ln>
                <a:solidFill>
                  <a:schemeClr val="tx2"/>
                </a:solidFill>
                <a:effectLst/>
                <a:uFillTx/>
                <a:latin typeface="+mn-lt"/>
                <a:ea typeface="+mn-ea"/>
                <a:cs typeface="+mn-cs"/>
                <a:sym typeface="Helvetica Neue"/>
              </a:rPr>
              <a:t>Table or Graphic Description</a:t>
            </a:r>
          </a:p>
        </p:txBody>
      </p:sp>
      <p:sp>
        <p:nvSpPr>
          <p:cNvPr id="15" name="TextBox 14">
            <a:extLst>
              <a:ext uri="{FF2B5EF4-FFF2-40B4-BE49-F238E27FC236}">
                <a16:creationId xmlns:a16="http://schemas.microsoft.com/office/drawing/2014/main" id="{410CE2F9-324C-4474-8DE2-B62714F3EB5C}"/>
              </a:ext>
            </a:extLst>
          </p:cNvPr>
          <p:cNvSpPr txBox="1"/>
          <p:nvPr/>
        </p:nvSpPr>
        <p:spPr>
          <a:xfrm>
            <a:off x="5305424" y="6096939"/>
            <a:ext cx="5257801"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defTabSz="2438338" hangingPunct="0"/>
            <a:r>
              <a:rPr kumimoji="0" lang="en-US" sz="1200" b="0" u="none" strike="noStrike" cap="none" spc="0" normalizeH="0" baseline="0" dirty="0">
                <a:ln>
                  <a:noFill/>
                </a:ln>
                <a:solidFill>
                  <a:schemeClr val="tx2"/>
                </a:solidFill>
                <a:effectLst/>
                <a:uFillTx/>
                <a:latin typeface="+mn-lt"/>
                <a:ea typeface="+mn-ea"/>
                <a:cs typeface="+mn-cs"/>
                <a:sym typeface="Helvetica Neue"/>
              </a:rPr>
              <a:t>From</a:t>
            </a:r>
            <a:r>
              <a:rPr kumimoji="0" lang="en-US" sz="1200" i="0" u="none" strike="noStrike" cap="none" spc="0" normalizeH="0" baseline="0" dirty="0">
                <a:ln>
                  <a:noFill/>
                </a:ln>
                <a:solidFill>
                  <a:schemeClr val="tx1"/>
                </a:solidFill>
                <a:effectLst/>
                <a:uFillTx/>
                <a:latin typeface="Calibri" panose="020F0502020204030204" pitchFamily="34" charset="0"/>
                <a:cs typeface="Calibri" panose="020F0502020204030204" pitchFamily="34" charset="0"/>
                <a:sym typeface="Helvetica Neue"/>
              </a:rPr>
              <a:t>: </a:t>
            </a:r>
            <a:r>
              <a:rPr kumimoji="0" lang="pl-PL" sz="1200" i="0" u="none" strike="noStrike" cap="none" spc="0" normalizeH="0" baseline="0" dirty="0">
                <a:ln>
                  <a:noFill/>
                </a:ln>
                <a:solidFill>
                  <a:schemeClr val="tx1"/>
                </a:solidFill>
                <a:effectLst/>
                <a:uFillTx/>
                <a:latin typeface="Calibri" panose="020F0502020204030204" pitchFamily="34" charset="0"/>
                <a:cs typeface="Calibri" panose="020F0502020204030204" pitchFamily="34" charset="0"/>
                <a:sym typeface="Helvetica Neue"/>
              </a:rPr>
              <a:t>Osborne, Randy</a:t>
            </a:r>
            <a:r>
              <a:rPr kumimoji="0" lang="en-US" sz="1200" i="0" u="none" strike="noStrike" cap="none" spc="0" normalizeH="0" baseline="0" dirty="0">
                <a:ln>
                  <a:noFill/>
                </a:ln>
                <a:solidFill>
                  <a:schemeClr val="tx1"/>
                </a:solidFill>
                <a:effectLst/>
                <a:uFillTx/>
                <a:latin typeface="Calibri" panose="020F0502020204030204" pitchFamily="34" charset="0"/>
                <a:cs typeface="Calibri" panose="020F0502020204030204" pitchFamily="34" charset="0"/>
                <a:sym typeface="Helvetica Neue"/>
              </a:rPr>
              <a:t>’s ADM implementation tutorial to Chiplets WG </a:t>
            </a:r>
          </a:p>
          <a:p>
            <a:pPr marL="0" marR="0" indent="0" algn="l" defTabSz="2438338" rtl="0" fontAlgn="auto" latinLnBrk="0" hangingPunct="0">
              <a:lnSpc>
                <a:spcPct val="100000"/>
              </a:lnSpc>
              <a:spcBef>
                <a:spcPts val="0"/>
              </a:spcBef>
              <a:spcAft>
                <a:spcPts val="0"/>
              </a:spcAft>
              <a:buClrTx/>
              <a:buSzTx/>
              <a:buFontTx/>
              <a:buNone/>
              <a:tabLst/>
            </a:pPr>
            <a:endParaRPr kumimoji="0" lang="en-US" sz="1200" b="0" u="none" strike="noStrike" cap="none" spc="0" normalizeH="0" baseline="0" dirty="0">
              <a:ln>
                <a:noFill/>
              </a:ln>
              <a:solidFill>
                <a:schemeClr val="tx2"/>
              </a:solidFill>
              <a:effectLst/>
              <a:uFillTx/>
              <a:latin typeface="+mn-lt"/>
              <a:ea typeface="+mn-ea"/>
              <a:cs typeface="+mn-cs"/>
              <a:sym typeface="Helvetica Neue"/>
            </a:endParaRPr>
          </a:p>
        </p:txBody>
      </p:sp>
      <p:pic>
        <p:nvPicPr>
          <p:cNvPr id="11" name="Picture 10">
            <a:extLst>
              <a:ext uri="{FF2B5EF4-FFF2-40B4-BE49-F238E27FC236}">
                <a16:creationId xmlns:a16="http://schemas.microsoft.com/office/drawing/2014/main" id="{23C1E17B-788F-4532-A8D5-773F9D8FFE99}"/>
              </a:ext>
            </a:extLst>
          </p:cNvPr>
          <p:cNvPicPr>
            <a:picLocks noChangeAspect="1"/>
          </p:cNvPicPr>
          <p:nvPr/>
        </p:nvPicPr>
        <p:blipFill>
          <a:blip r:embed="rId7"/>
          <a:stretch>
            <a:fillRect/>
          </a:stretch>
        </p:blipFill>
        <p:spPr>
          <a:xfrm>
            <a:off x="5810249" y="3513457"/>
            <a:ext cx="3382179" cy="1964109"/>
          </a:xfrm>
          <a:prstGeom prst="rect">
            <a:avLst/>
          </a:prstGeom>
        </p:spPr>
      </p:pic>
      <p:pic>
        <p:nvPicPr>
          <p:cNvPr id="12" name="Picture 11">
            <a:extLst>
              <a:ext uri="{FF2B5EF4-FFF2-40B4-BE49-F238E27FC236}">
                <a16:creationId xmlns:a16="http://schemas.microsoft.com/office/drawing/2014/main" id="{3DE846CB-F20D-4FAB-8B89-E62445103AA7}"/>
              </a:ext>
            </a:extLst>
          </p:cNvPr>
          <p:cNvPicPr>
            <a:picLocks noChangeAspect="1"/>
          </p:cNvPicPr>
          <p:nvPr/>
        </p:nvPicPr>
        <p:blipFill>
          <a:blip r:embed="rId8"/>
          <a:stretch>
            <a:fillRect/>
          </a:stretch>
        </p:blipFill>
        <p:spPr>
          <a:xfrm>
            <a:off x="9958047" y="3310509"/>
            <a:ext cx="1798162" cy="3121162"/>
          </a:xfrm>
          <a:prstGeom prst="rect">
            <a:avLst/>
          </a:prstGeom>
        </p:spPr>
      </p:pic>
      <p:pic>
        <p:nvPicPr>
          <p:cNvPr id="13" name="Picture 12">
            <a:extLst>
              <a:ext uri="{FF2B5EF4-FFF2-40B4-BE49-F238E27FC236}">
                <a16:creationId xmlns:a16="http://schemas.microsoft.com/office/drawing/2014/main" id="{44FEE707-19F8-4AF2-A3C5-7BE449363B62}"/>
              </a:ext>
            </a:extLst>
          </p:cNvPr>
          <p:cNvPicPr>
            <a:picLocks noChangeAspect="1"/>
          </p:cNvPicPr>
          <p:nvPr/>
        </p:nvPicPr>
        <p:blipFill>
          <a:blip r:embed="rId9"/>
          <a:stretch>
            <a:fillRect/>
          </a:stretch>
        </p:blipFill>
        <p:spPr>
          <a:xfrm>
            <a:off x="8717691" y="4449455"/>
            <a:ext cx="1889395" cy="1028111"/>
          </a:xfrm>
          <a:prstGeom prst="rect">
            <a:avLst/>
          </a:prstGeom>
        </p:spPr>
      </p:pic>
      <p:pic>
        <p:nvPicPr>
          <p:cNvPr id="3" name="Picture 2">
            <a:extLst>
              <a:ext uri="{FF2B5EF4-FFF2-40B4-BE49-F238E27FC236}">
                <a16:creationId xmlns:a16="http://schemas.microsoft.com/office/drawing/2014/main" id="{0C246D2B-C735-444E-B2C7-AB99290705D2}"/>
              </a:ext>
            </a:extLst>
          </p:cNvPr>
          <p:cNvPicPr>
            <a:picLocks noChangeAspect="1"/>
          </p:cNvPicPr>
          <p:nvPr/>
        </p:nvPicPr>
        <p:blipFill>
          <a:blip r:embed="rId10"/>
          <a:stretch>
            <a:fillRect/>
          </a:stretch>
        </p:blipFill>
        <p:spPr>
          <a:xfrm>
            <a:off x="5744711" y="894548"/>
            <a:ext cx="5945960" cy="2340476"/>
          </a:xfrm>
          <a:prstGeom prst="rect">
            <a:avLst/>
          </a:prstGeom>
        </p:spPr>
      </p:pic>
      <p:sp>
        <p:nvSpPr>
          <p:cNvPr id="6" name="TextBox 5">
            <a:extLst>
              <a:ext uri="{FF2B5EF4-FFF2-40B4-BE49-F238E27FC236}">
                <a16:creationId xmlns:a16="http://schemas.microsoft.com/office/drawing/2014/main" id="{22BC6B24-B64B-4BA4-B130-5CBF36B8FA77}"/>
              </a:ext>
            </a:extLst>
          </p:cNvPr>
          <p:cNvSpPr txBox="1"/>
          <p:nvPr/>
        </p:nvSpPr>
        <p:spPr>
          <a:xfrm>
            <a:off x="7114331" y="626714"/>
            <a:ext cx="3757439"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b="1" i="0" u="none" strike="noStrike" cap="none" spc="0" normalizeH="0" baseline="0" dirty="0">
                <a:ln>
                  <a:noFill/>
                </a:ln>
                <a:solidFill>
                  <a:schemeClr val="tx2"/>
                </a:solidFill>
                <a:effectLst/>
                <a:uFillTx/>
                <a:latin typeface="+mn-lt"/>
                <a:ea typeface="+mn-ea"/>
                <a:cs typeface="+mn-cs"/>
                <a:sym typeface="Helvetica Neue"/>
              </a:rPr>
              <a:t>Memory options comparison table </a:t>
            </a:r>
          </a:p>
        </p:txBody>
      </p:sp>
    </p:spTree>
    <p:extLst>
      <p:ext uri="{BB962C8B-B14F-4D97-AF65-F5344CB8AC3E}">
        <p14:creationId xmlns:p14="http://schemas.microsoft.com/office/powerpoint/2010/main" val="226497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ABABF-1912-AD4E-BC45-28EAE79AEEA0}"/>
              </a:ext>
            </a:extLst>
          </p:cNvPr>
          <p:cNvSpPr>
            <a:spLocks noGrp="1"/>
          </p:cNvSpPr>
          <p:nvPr>
            <p:ph type="ctrTitle"/>
          </p:nvPr>
        </p:nvSpPr>
        <p:spPr/>
        <p:txBody>
          <a:bodyPr/>
          <a:lstStyle/>
          <a:p>
            <a:r>
              <a:rPr lang="en-US" sz="4400" dirty="0"/>
              <a:t>Memory Technology</a:t>
            </a:r>
            <a:br>
              <a:rPr lang="en-US" sz="4400" dirty="0"/>
            </a:br>
            <a:r>
              <a:rPr lang="en-US" sz="4400" dirty="0"/>
              <a:t>Construct in System hierarchy</a:t>
            </a:r>
          </a:p>
        </p:txBody>
      </p:sp>
      <p:sp>
        <p:nvSpPr>
          <p:cNvPr id="3" name="Content Placeholder 2">
            <a:extLst>
              <a:ext uri="{FF2B5EF4-FFF2-40B4-BE49-F238E27FC236}">
                <a16:creationId xmlns:a16="http://schemas.microsoft.com/office/drawing/2014/main" id="{BD61A205-E58C-1251-9045-43E75AB05619}"/>
              </a:ext>
            </a:extLst>
          </p:cNvPr>
          <p:cNvSpPr>
            <a:spLocks noGrp="1"/>
          </p:cNvSpPr>
          <p:nvPr>
            <p:ph type="subTitle" idx="1"/>
          </p:nvPr>
        </p:nvSpPr>
        <p:spPr/>
        <p:txBody>
          <a:bodyPr/>
          <a:lstStyle/>
          <a:p>
            <a:r>
              <a:rPr lang="en-US" sz="3200" dirty="0"/>
              <a:t>JEDEC Memory</a:t>
            </a:r>
          </a:p>
          <a:p>
            <a:r>
              <a:rPr lang="en-US" sz="3200" dirty="0"/>
              <a:t>Custom Memory</a:t>
            </a:r>
          </a:p>
          <a:p>
            <a:pPr marL="0" indent="0">
              <a:buNone/>
            </a:pPr>
            <a:endParaRPr lang="en-US" sz="3200" dirty="0"/>
          </a:p>
        </p:txBody>
      </p:sp>
    </p:spTree>
    <p:extLst>
      <p:ext uri="{BB962C8B-B14F-4D97-AF65-F5344CB8AC3E}">
        <p14:creationId xmlns:p14="http://schemas.microsoft.com/office/powerpoint/2010/main" val="23774069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E3CE8F-20AF-2971-B42F-264CDBBF4901}"/>
              </a:ext>
            </a:extLst>
          </p:cNvPr>
          <p:cNvPicPr>
            <a:picLocks noChangeAspect="1"/>
          </p:cNvPicPr>
          <p:nvPr/>
        </p:nvPicPr>
        <p:blipFill>
          <a:blip r:embed="rId2"/>
          <a:stretch>
            <a:fillRect/>
          </a:stretch>
        </p:blipFill>
        <p:spPr>
          <a:xfrm>
            <a:off x="624411" y="358052"/>
            <a:ext cx="10943177" cy="6141896"/>
          </a:xfrm>
          <a:prstGeom prst="rect">
            <a:avLst/>
          </a:prstGeom>
        </p:spPr>
      </p:pic>
    </p:spTree>
    <p:extLst>
      <p:ext uri="{BB962C8B-B14F-4D97-AF65-F5344CB8AC3E}">
        <p14:creationId xmlns:p14="http://schemas.microsoft.com/office/powerpoint/2010/main" val="17194125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029DBA-6701-2AB4-4A60-C19B2580F2D1}"/>
              </a:ext>
            </a:extLst>
          </p:cNvPr>
          <p:cNvPicPr>
            <a:picLocks noChangeAspect="1"/>
          </p:cNvPicPr>
          <p:nvPr/>
        </p:nvPicPr>
        <p:blipFill>
          <a:blip r:embed="rId2"/>
          <a:stretch>
            <a:fillRect/>
          </a:stretch>
        </p:blipFill>
        <p:spPr>
          <a:xfrm>
            <a:off x="545279" y="606972"/>
            <a:ext cx="11101441" cy="5644055"/>
          </a:xfrm>
          <a:prstGeom prst="rect">
            <a:avLst/>
          </a:prstGeom>
        </p:spPr>
      </p:pic>
    </p:spTree>
    <p:extLst>
      <p:ext uri="{BB962C8B-B14F-4D97-AF65-F5344CB8AC3E}">
        <p14:creationId xmlns:p14="http://schemas.microsoft.com/office/powerpoint/2010/main" val="42863898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B0CFFC-55DC-B378-18A5-005442A6C612}"/>
              </a:ext>
            </a:extLst>
          </p:cNvPr>
          <p:cNvPicPr>
            <a:picLocks noChangeAspect="1"/>
          </p:cNvPicPr>
          <p:nvPr/>
        </p:nvPicPr>
        <p:blipFill>
          <a:blip r:embed="rId2"/>
          <a:stretch>
            <a:fillRect/>
          </a:stretch>
        </p:blipFill>
        <p:spPr>
          <a:xfrm>
            <a:off x="777050" y="318767"/>
            <a:ext cx="10637899" cy="6220465"/>
          </a:xfrm>
          <a:prstGeom prst="rect">
            <a:avLst/>
          </a:prstGeom>
        </p:spPr>
      </p:pic>
    </p:spTree>
    <p:extLst>
      <p:ext uri="{BB962C8B-B14F-4D97-AF65-F5344CB8AC3E}">
        <p14:creationId xmlns:p14="http://schemas.microsoft.com/office/powerpoint/2010/main" val="15509141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A4ED5C-8E09-9C62-9F67-A82E37FDAFDC}"/>
              </a:ext>
            </a:extLst>
          </p:cNvPr>
          <p:cNvPicPr>
            <a:picLocks noChangeAspect="1"/>
          </p:cNvPicPr>
          <p:nvPr/>
        </p:nvPicPr>
        <p:blipFill>
          <a:blip r:embed="rId2"/>
          <a:stretch>
            <a:fillRect/>
          </a:stretch>
        </p:blipFill>
        <p:spPr>
          <a:xfrm>
            <a:off x="988656" y="411825"/>
            <a:ext cx="10214688" cy="6034349"/>
          </a:xfrm>
          <a:prstGeom prst="rect">
            <a:avLst/>
          </a:prstGeom>
        </p:spPr>
      </p:pic>
    </p:spTree>
    <p:extLst>
      <p:ext uri="{BB962C8B-B14F-4D97-AF65-F5344CB8AC3E}">
        <p14:creationId xmlns:p14="http://schemas.microsoft.com/office/powerpoint/2010/main" val="7509252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EF03C-CC20-6E1B-466F-D14FCEFF3779}"/>
              </a:ext>
            </a:extLst>
          </p:cNvPr>
          <p:cNvSpPr>
            <a:spLocks noGrp="1"/>
          </p:cNvSpPr>
          <p:nvPr>
            <p:ph type="title"/>
          </p:nvPr>
        </p:nvSpPr>
        <p:spPr/>
        <p:txBody>
          <a:bodyPr/>
          <a:lstStyle/>
          <a:p>
            <a:r>
              <a:rPr lang="en-US" sz="4000"/>
              <a:t>DDR is Memory Module Socketed on PCB</a:t>
            </a:r>
          </a:p>
        </p:txBody>
      </p:sp>
      <p:pic>
        <p:nvPicPr>
          <p:cNvPr id="4" name="Picture 2">
            <a:extLst>
              <a:ext uri="{FF2B5EF4-FFF2-40B4-BE49-F238E27FC236}">
                <a16:creationId xmlns:a16="http://schemas.microsoft.com/office/drawing/2014/main" id="{EA63EB2A-2F22-A147-1DAA-F670008AED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8125" y="4797001"/>
            <a:ext cx="2500058" cy="156345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8FCABA9-0597-24E3-E0D2-CE2FE88B43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3236" y="3182504"/>
            <a:ext cx="2425169" cy="136281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13573DB-63F5-6737-17EC-D8D5EA95D9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413" y="970557"/>
            <a:ext cx="3664041" cy="208601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What is the difference between LPDDR and LP DDR memory types? - Quora">
            <a:extLst>
              <a:ext uri="{FF2B5EF4-FFF2-40B4-BE49-F238E27FC236}">
                <a16:creationId xmlns:a16="http://schemas.microsoft.com/office/drawing/2014/main" id="{3A07001D-1991-D00B-F9C4-322320AE1B5B}"/>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2174" b="95109" l="1095" r="98175">
                        <a14:foregroundMark x1="3285" y1="5978" x2="6934" y2="28261"/>
                        <a14:foregroundMark x1="6934" y1="28261" x2="6569" y2="53261"/>
                        <a14:foregroundMark x1="6569" y1="53261" x2="12774" y2="7065"/>
                        <a14:foregroundMark x1="4745" y1="10326" x2="5109" y2="60870"/>
                        <a14:foregroundMark x1="5109" y1="60870" x2="9124" y2="80435"/>
                        <a14:foregroundMark x1="6204" y1="95652" x2="25912" y2="75000"/>
                        <a14:foregroundMark x1="25912" y1="75000" x2="35766" y2="54348"/>
                        <a14:foregroundMark x1="35766" y1="54348" x2="39416" y2="16304"/>
                        <a14:foregroundMark x1="39416" y1="16304" x2="29197" y2="79891"/>
                        <a14:foregroundMark x1="29197" y1="79891" x2="29197" y2="82065"/>
                        <a14:foregroundMark x1="55474" y1="7065" x2="30657" y2="8696"/>
                        <a14:foregroundMark x1="30657" y1="8696" x2="53650" y2="9783"/>
                        <a14:foregroundMark x1="6204" y1="5978" x2="59489" y2="7609"/>
                        <a14:foregroundMark x1="59489" y1="7609" x2="73358" y2="7065"/>
                        <a14:foregroundMark x1="73358" y1="7065" x2="77372" y2="7065"/>
                        <a14:foregroundMark x1="66788" y1="16304" x2="73723" y2="9239"/>
                        <a14:foregroundMark x1="20073" y1="1630" x2="50365" y2="4348"/>
                        <a14:foregroundMark x1="50365" y1="4348" x2="63139" y2="2717"/>
                        <a14:foregroundMark x1="71533" y1="10870" x2="82839" y2="7229"/>
                        <a14:foregroundMark x1="60584" y1="34783" x2="75547" y2="28804"/>
                        <a14:foregroundMark x1="75547" y1="28804" x2="89416" y2="31522"/>
                        <a14:foregroundMark x1="89416" y1="31522" x2="68613" y2="30435"/>
                        <a14:foregroundMark x1="63504" y1="35326" x2="87956" y2="33696"/>
                        <a14:foregroundMark x1="87956" y1="33696" x2="88321" y2="30435"/>
                        <a14:foregroundMark x1="64234" y1="61957" x2="81752" y2="58152"/>
                        <a14:foregroundMark x1="81752" y1="58152" x2="89051" y2="61957"/>
                        <a14:foregroundMark x1="28832" y1="72826" x2="74453" y2="79348"/>
                        <a14:foregroundMark x1="61679" y1="85326" x2="88321" y2="85870"/>
                        <a14:foregroundMark x1="68613" y1="91304" x2="98540" y2="92935"/>
                        <a14:foregroundMark x1="0" y1="13587" x2="1095" y2="58152"/>
                        <a14:foregroundMark x1="1095" y1="58152" x2="1825" y2="60870"/>
                        <a14:foregroundMark x1="44526" y1="91304" x2="58759" y2="91848"/>
                        <a14:foregroundMark x1="85036" y1="30978" x2="89781" y2="31522"/>
                        <a14:foregroundMark x1="85036" y1="30435" x2="89781" y2="29348"/>
                        <a14:foregroundMark x1="81022" y1="29348" x2="90511" y2="31522"/>
                        <a14:foregroundMark x1="79927" y1="28261" x2="91241" y2="29891"/>
                        <a14:backgroundMark x1="88321" y1="3804" x2="96715" y2="21196"/>
                        <a14:backgroundMark x1="96715" y1="21196" x2="90876" y2="2174"/>
                        <a14:backgroundMark x1="90876" y1="2174" x2="91971" y2="13587"/>
                        <a14:backgroundMark x1="85036" y1="5435" x2="91683" y2="21631"/>
                        <a14:backgroundMark x1="93619" y1="24671" x2="94891" y2="23913"/>
                      </a14:backgroundRemoval>
                    </a14:imgEffect>
                  </a14:imgLayer>
                </a14:imgProps>
              </a:ext>
              <a:ext uri="{28A0092B-C50C-407E-A947-70E740481C1C}">
                <a14:useLocalDpi xmlns:a14="http://schemas.microsoft.com/office/drawing/2010/main" val="0"/>
              </a:ext>
            </a:extLst>
          </a:blip>
          <a:srcRect/>
          <a:stretch>
            <a:fillRect/>
          </a:stretch>
        </p:blipFill>
        <p:spPr bwMode="auto">
          <a:xfrm>
            <a:off x="6153525" y="1185315"/>
            <a:ext cx="4278736" cy="287331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rucial 64GB Kit (2x32GB) DDR5-5600 SODIMM- view 1">
            <a:extLst>
              <a:ext uri="{FF2B5EF4-FFF2-40B4-BE49-F238E27FC236}">
                <a16:creationId xmlns:a16="http://schemas.microsoft.com/office/drawing/2014/main" id="{3D656EB2-214C-2574-209F-7E3CFD5BF2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13454" y="1621050"/>
            <a:ext cx="1687295" cy="87989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93DA41BC-973E-B93F-1718-93578F13C5A2}"/>
              </a:ext>
            </a:extLst>
          </p:cNvPr>
          <p:cNvGrpSpPr/>
          <p:nvPr/>
        </p:nvGrpSpPr>
        <p:grpSpPr>
          <a:xfrm>
            <a:off x="6230470" y="4104474"/>
            <a:ext cx="4724400" cy="2057400"/>
            <a:chOff x="7467600" y="4158263"/>
            <a:chExt cx="4724400" cy="2057400"/>
          </a:xfrm>
        </p:grpSpPr>
        <p:pic>
          <p:nvPicPr>
            <p:cNvPr id="6" name="Picture 5">
              <a:extLst>
                <a:ext uri="{FF2B5EF4-FFF2-40B4-BE49-F238E27FC236}">
                  <a16:creationId xmlns:a16="http://schemas.microsoft.com/office/drawing/2014/main" id="{B22D3674-D84B-1564-030D-6BDC7CC5BF18}"/>
                </a:ext>
              </a:extLst>
            </p:cNvPr>
            <p:cNvPicPr>
              <a:picLocks noChangeAspect="1"/>
            </p:cNvPicPr>
            <p:nvPr/>
          </p:nvPicPr>
          <p:blipFill>
            <a:blip r:embed="rId9"/>
            <a:stretch>
              <a:fillRect/>
            </a:stretch>
          </p:blipFill>
          <p:spPr>
            <a:xfrm>
              <a:off x="7467600" y="4158263"/>
              <a:ext cx="4724400" cy="1790299"/>
            </a:xfrm>
            <a:prstGeom prst="rect">
              <a:avLst/>
            </a:prstGeom>
          </p:spPr>
        </p:pic>
        <p:sp>
          <p:nvSpPr>
            <p:cNvPr id="7" name="TextBox 6">
              <a:extLst>
                <a:ext uri="{FF2B5EF4-FFF2-40B4-BE49-F238E27FC236}">
                  <a16:creationId xmlns:a16="http://schemas.microsoft.com/office/drawing/2014/main" id="{BEE2F645-FD61-D530-D7DA-EA0DA533810B}"/>
                </a:ext>
              </a:extLst>
            </p:cNvPr>
            <p:cNvSpPr txBox="1"/>
            <p:nvPr/>
          </p:nvSpPr>
          <p:spPr>
            <a:xfrm>
              <a:off x="7467600" y="5954053"/>
              <a:ext cx="4201791" cy="261610"/>
            </a:xfrm>
            <a:prstGeom prst="rect">
              <a:avLst/>
            </a:prstGeom>
            <a:noFill/>
          </p:spPr>
          <p:txBody>
            <a:bodyPr wrap="none" rtlCol="0">
              <a:spAutoFit/>
            </a:bodyPr>
            <a:lstStyle/>
            <a:p>
              <a:r>
                <a:rPr lang="en-US" sz="1100" i="1" dirty="0">
                  <a:latin typeface="Calibri" panose="020F0502020204030204" pitchFamily="34" charset="0"/>
                  <a:cs typeface="Calibri" panose="020F0502020204030204" pitchFamily="34" charset="0"/>
                </a:rPr>
                <a:t>Ki-Jun Sung </a:t>
              </a:r>
              <a:r>
                <a:rPr lang="en-US" sz="1100" i="1" dirty="0" err="1">
                  <a:latin typeface="Calibri" panose="020F0502020204030204" pitchFamily="34" charset="0"/>
                  <a:cs typeface="Calibri" panose="020F0502020204030204" pitchFamily="34" charset="0"/>
                </a:rPr>
                <a:t>et.al</a:t>
              </a:r>
              <a:r>
                <a:rPr lang="en-US" sz="1100" i="1" dirty="0">
                  <a:latin typeface="Calibri" panose="020F0502020204030204" pitchFamily="34" charset="0"/>
                  <a:cs typeface="Calibri" panose="020F0502020204030204" pitchFamily="34" charset="0"/>
                </a:rPr>
                <a:t>., EDTM’23 </a:t>
              </a:r>
              <a:r>
                <a:rPr lang="en-US" sz="1100" b="1" i="1" dirty="0">
                  <a:solidFill>
                    <a:srgbClr val="333333"/>
                  </a:solidFill>
                  <a:effectLst/>
                  <a:latin typeface="Calibri" panose="020F0502020204030204" pitchFamily="34" charset="0"/>
                  <a:cs typeface="Calibri" panose="020F0502020204030204" pitchFamily="34" charset="0"/>
                </a:rPr>
                <a:t>DOI: </a:t>
              </a:r>
              <a:r>
                <a:rPr lang="en-US" sz="1100" b="0" i="1" u="none" strike="noStrike" dirty="0">
                  <a:solidFill>
                    <a:srgbClr val="006699"/>
                  </a:solidFill>
                  <a:effectLst/>
                  <a:latin typeface="Calibri" panose="020F0502020204030204" pitchFamily="34" charset="0"/>
                  <a:cs typeface="Calibri" panose="020F0502020204030204" pitchFamily="34" charset="0"/>
                  <a:hlinkClick r:id="rId10"/>
                </a:rPr>
                <a:t>10.1109/EDTM55494.2023.10102966</a:t>
              </a:r>
              <a:endParaRPr lang="en-US" sz="1100" i="1"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81670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4AE512-A7D9-80CB-60E0-E3DFC3E6EAFF}"/>
              </a:ext>
            </a:extLst>
          </p:cNvPr>
          <p:cNvSpPr>
            <a:spLocks noGrp="1"/>
          </p:cNvSpPr>
          <p:nvPr>
            <p:ph type="title"/>
          </p:nvPr>
        </p:nvSpPr>
        <p:spPr>
          <a:xfrm>
            <a:off x="914400" y="306314"/>
            <a:ext cx="10363200" cy="838200"/>
          </a:xfrm>
        </p:spPr>
        <p:txBody>
          <a:bodyPr/>
          <a:lstStyle/>
          <a:p>
            <a:r>
              <a:rPr lang="en-US" sz="4000"/>
              <a:t>LPDDR5 in Phone</a:t>
            </a:r>
            <a:br>
              <a:rPr lang="en-US"/>
            </a:br>
            <a:r>
              <a:rPr lang="en-US" sz="2800"/>
              <a:t>Wire-bonded Package surface mounted on a PCB</a:t>
            </a:r>
            <a:endParaRPr lang="en-US"/>
          </a:p>
        </p:txBody>
      </p:sp>
      <p:grpSp>
        <p:nvGrpSpPr>
          <p:cNvPr id="7" name="Group 6">
            <a:extLst>
              <a:ext uri="{FF2B5EF4-FFF2-40B4-BE49-F238E27FC236}">
                <a16:creationId xmlns:a16="http://schemas.microsoft.com/office/drawing/2014/main" id="{EB474FD3-824B-A153-1FDC-8199CBD69145}"/>
              </a:ext>
            </a:extLst>
          </p:cNvPr>
          <p:cNvGrpSpPr>
            <a:grpSpLocks noChangeAspect="1"/>
          </p:cNvGrpSpPr>
          <p:nvPr/>
        </p:nvGrpSpPr>
        <p:grpSpPr>
          <a:xfrm>
            <a:off x="547982" y="1600200"/>
            <a:ext cx="11096035" cy="4191000"/>
            <a:chOff x="882316" y="845301"/>
            <a:chExt cx="13201984" cy="4986422"/>
          </a:xfrm>
        </p:grpSpPr>
        <p:pic>
          <p:nvPicPr>
            <p:cNvPr id="5" name="Picture 4">
              <a:extLst>
                <a:ext uri="{FF2B5EF4-FFF2-40B4-BE49-F238E27FC236}">
                  <a16:creationId xmlns:a16="http://schemas.microsoft.com/office/drawing/2014/main" id="{AC14CCA0-FA72-BD1D-577F-3D0135413725}"/>
                </a:ext>
              </a:extLst>
            </p:cNvPr>
            <p:cNvPicPr>
              <a:picLocks noChangeAspect="1"/>
            </p:cNvPicPr>
            <p:nvPr/>
          </p:nvPicPr>
          <p:blipFill>
            <a:blip r:embed="rId2"/>
            <a:stretch>
              <a:fillRect/>
            </a:stretch>
          </p:blipFill>
          <p:spPr>
            <a:xfrm>
              <a:off x="882316" y="1026276"/>
              <a:ext cx="7772400" cy="4805447"/>
            </a:xfrm>
            <a:prstGeom prst="rect">
              <a:avLst/>
            </a:prstGeom>
          </p:spPr>
        </p:pic>
        <p:pic>
          <p:nvPicPr>
            <p:cNvPr id="6" name="Picture 5">
              <a:extLst>
                <a:ext uri="{FF2B5EF4-FFF2-40B4-BE49-F238E27FC236}">
                  <a16:creationId xmlns:a16="http://schemas.microsoft.com/office/drawing/2014/main" id="{10F8457C-2F38-D1E5-0FC7-694B482EA1FD}"/>
                </a:ext>
              </a:extLst>
            </p:cNvPr>
            <p:cNvPicPr>
              <a:picLocks noChangeAspect="1"/>
            </p:cNvPicPr>
            <p:nvPr/>
          </p:nvPicPr>
          <p:blipFill>
            <a:blip r:embed="rId3"/>
            <a:stretch>
              <a:fillRect/>
            </a:stretch>
          </p:blipFill>
          <p:spPr>
            <a:xfrm>
              <a:off x="6400800" y="845301"/>
              <a:ext cx="7683500" cy="4902200"/>
            </a:xfrm>
            <a:prstGeom prst="rect">
              <a:avLst/>
            </a:prstGeom>
          </p:spPr>
        </p:pic>
      </p:grpSp>
    </p:spTree>
    <p:extLst>
      <p:ext uri="{BB962C8B-B14F-4D97-AF65-F5344CB8AC3E}">
        <p14:creationId xmlns:p14="http://schemas.microsoft.com/office/powerpoint/2010/main" val="16396610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1BB9F1-BACF-9DEB-AEB1-7CDDDE81807F}"/>
              </a:ext>
            </a:extLst>
          </p:cNvPr>
          <p:cNvPicPr>
            <a:picLocks noChangeAspect="1"/>
          </p:cNvPicPr>
          <p:nvPr/>
        </p:nvPicPr>
        <p:blipFill>
          <a:blip r:embed="rId3"/>
          <a:stretch>
            <a:fillRect/>
          </a:stretch>
        </p:blipFill>
        <p:spPr>
          <a:xfrm>
            <a:off x="2560368" y="1700223"/>
            <a:ext cx="7071263" cy="3002406"/>
          </a:xfrm>
          <a:prstGeom prst="rect">
            <a:avLst/>
          </a:prstGeom>
        </p:spPr>
      </p:pic>
      <p:sp>
        <p:nvSpPr>
          <p:cNvPr id="2" name="Title 1">
            <a:extLst>
              <a:ext uri="{FF2B5EF4-FFF2-40B4-BE49-F238E27FC236}">
                <a16:creationId xmlns:a16="http://schemas.microsoft.com/office/drawing/2014/main" id="{D8709C27-F0F6-8E25-1F3C-97C7D0D73798}"/>
              </a:ext>
            </a:extLst>
          </p:cNvPr>
          <p:cNvSpPr>
            <a:spLocks noGrp="1"/>
          </p:cNvSpPr>
          <p:nvPr>
            <p:ph type="title"/>
          </p:nvPr>
        </p:nvSpPr>
        <p:spPr>
          <a:xfrm>
            <a:off x="228600" y="152400"/>
            <a:ext cx="11734800" cy="838200"/>
          </a:xfrm>
        </p:spPr>
        <p:txBody>
          <a:bodyPr/>
          <a:lstStyle/>
          <a:p>
            <a:r>
              <a:rPr lang="en-US" sz="3600" dirty="0"/>
              <a:t>LPDDR5 in Client Compute System</a:t>
            </a:r>
            <a:br>
              <a:rPr lang="en-US" sz="2400" dirty="0"/>
            </a:br>
            <a:endParaRPr lang="en-US" sz="2400" dirty="0"/>
          </a:p>
        </p:txBody>
      </p:sp>
      <p:pic>
        <p:nvPicPr>
          <p:cNvPr id="3" name="Picture 2">
            <a:extLst>
              <a:ext uri="{FF2B5EF4-FFF2-40B4-BE49-F238E27FC236}">
                <a16:creationId xmlns:a16="http://schemas.microsoft.com/office/drawing/2014/main" id="{1E99D23A-E350-C4F0-4DD7-C263832592C5}"/>
              </a:ext>
            </a:extLst>
          </p:cNvPr>
          <p:cNvPicPr>
            <a:picLocks noChangeAspect="1"/>
          </p:cNvPicPr>
          <p:nvPr/>
        </p:nvPicPr>
        <p:blipFill>
          <a:blip r:embed="rId4"/>
          <a:stretch>
            <a:fillRect/>
          </a:stretch>
        </p:blipFill>
        <p:spPr>
          <a:xfrm>
            <a:off x="3962708" y="1348702"/>
            <a:ext cx="4266584" cy="1880671"/>
          </a:xfrm>
          <a:prstGeom prst="rect">
            <a:avLst/>
          </a:prstGeom>
        </p:spPr>
      </p:pic>
      <p:pic>
        <p:nvPicPr>
          <p:cNvPr id="5" name="Picture 4">
            <a:extLst>
              <a:ext uri="{FF2B5EF4-FFF2-40B4-BE49-F238E27FC236}">
                <a16:creationId xmlns:a16="http://schemas.microsoft.com/office/drawing/2014/main" id="{0A6B8B1B-E7E7-EC5A-4380-DF8E7844CF07}"/>
              </a:ext>
            </a:extLst>
          </p:cNvPr>
          <p:cNvPicPr>
            <a:picLocks noChangeAspect="1"/>
          </p:cNvPicPr>
          <p:nvPr/>
        </p:nvPicPr>
        <p:blipFill>
          <a:blip r:embed="rId5"/>
          <a:stretch>
            <a:fillRect/>
          </a:stretch>
        </p:blipFill>
        <p:spPr>
          <a:xfrm>
            <a:off x="2382922" y="3652540"/>
            <a:ext cx="4962301" cy="2529179"/>
          </a:xfrm>
          <a:prstGeom prst="rect">
            <a:avLst/>
          </a:prstGeom>
        </p:spPr>
      </p:pic>
      <p:pic>
        <p:nvPicPr>
          <p:cNvPr id="7" name="Picture 6">
            <a:extLst>
              <a:ext uri="{FF2B5EF4-FFF2-40B4-BE49-F238E27FC236}">
                <a16:creationId xmlns:a16="http://schemas.microsoft.com/office/drawing/2014/main" id="{9C1E2E97-E918-3173-B8F8-D70B80280D86}"/>
              </a:ext>
            </a:extLst>
          </p:cNvPr>
          <p:cNvPicPr>
            <a:picLocks noChangeAspect="1"/>
          </p:cNvPicPr>
          <p:nvPr/>
        </p:nvPicPr>
        <p:blipFill>
          <a:blip r:embed="rId6"/>
          <a:stretch>
            <a:fillRect/>
          </a:stretch>
        </p:blipFill>
        <p:spPr>
          <a:xfrm>
            <a:off x="4983431" y="3624733"/>
            <a:ext cx="4648200" cy="2717870"/>
          </a:xfrm>
          <a:prstGeom prst="rect">
            <a:avLst/>
          </a:prstGeom>
        </p:spPr>
      </p:pic>
      <p:pic>
        <p:nvPicPr>
          <p:cNvPr id="9" name="Picture 8">
            <a:extLst>
              <a:ext uri="{FF2B5EF4-FFF2-40B4-BE49-F238E27FC236}">
                <a16:creationId xmlns:a16="http://schemas.microsoft.com/office/drawing/2014/main" id="{CE2C22F5-0F1B-859D-B963-14A38DDE03F3}"/>
              </a:ext>
            </a:extLst>
          </p:cNvPr>
          <p:cNvPicPr>
            <a:picLocks noChangeAspect="1"/>
          </p:cNvPicPr>
          <p:nvPr/>
        </p:nvPicPr>
        <p:blipFill rotWithShape="1">
          <a:blip r:embed="rId7"/>
          <a:srcRect l="19335" r="5185"/>
          <a:stretch/>
        </p:blipFill>
        <p:spPr>
          <a:xfrm>
            <a:off x="302623" y="3114185"/>
            <a:ext cx="11660777" cy="1939965"/>
          </a:xfrm>
          <a:prstGeom prst="rect">
            <a:avLst/>
          </a:prstGeom>
        </p:spPr>
      </p:pic>
      <p:sp>
        <p:nvSpPr>
          <p:cNvPr id="8" name="Title 1">
            <a:extLst>
              <a:ext uri="{FF2B5EF4-FFF2-40B4-BE49-F238E27FC236}">
                <a16:creationId xmlns:a16="http://schemas.microsoft.com/office/drawing/2014/main" id="{0EF2E790-24F6-F4EE-28D6-C90E4C36B063}"/>
              </a:ext>
            </a:extLst>
          </p:cNvPr>
          <p:cNvSpPr txBox="1">
            <a:spLocks/>
          </p:cNvSpPr>
          <p:nvPr/>
        </p:nvSpPr>
        <p:spPr bwMode="auto">
          <a:xfrm>
            <a:off x="265611" y="211587"/>
            <a:ext cx="11734800" cy="838200"/>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4847" b="1">
                <a:solidFill>
                  <a:schemeClr val="accent2"/>
                </a:solidFill>
                <a:latin typeface="Calibri" pitchFamily="34" charset="0"/>
                <a:ea typeface="+mj-ea"/>
                <a:cs typeface="Calibri" pitchFamily="34" charset="0"/>
              </a:defRPr>
            </a:lvl1pPr>
            <a:lvl2pPr algn="ctr" rtl="0" eaLnBrk="1" fontAlgn="base" hangingPunct="1">
              <a:spcBef>
                <a:spcPct val="0"/>
              </a:spcBef>
              <a:spcAft>
                <a:spcPct val="0"/>
              </a:spcAft>
              <a:defRPr sz="4847" b="1">
                <a:solidFill>
                  <a:schemeClr val="accent2"/>
                </a:solidFill>
                <a:latin typeface="Neo Sans Intel Medium" pitchFamily="34" charset="0"/>
              </a:defRPr>
            </a:lvl2pPr>
            <a:lvl3pPr algn="ctr" rtl="0" eaLnBrk="1" fontAlgn="base" hangingPunct="1">
              <a:spcBef>
                <a:spcPct val="0"/>
              </a:spcBef>
              <a:spcAft>
                <a:spcPct val="0"/>
              </a:spcAft>
              <a:defRPr sz="4847" b="1">
                <a:solidFill>
                  <a:schemeClr val="accent2"/>
                </a:solidFill>
                <a:latin typeface="Neo Sans Intel Medium" pitchFamily="34" charset="0"/>
              </a:defRPr>
            </a:lvl3pPr>
            <a:lvl4pPr algn="ctr" rtl="0" eaLnBrk="1" fontAlgn="base" hangingPunct="1">
              <a:spcBef>
                <a:spcPct val="0"/>
              </a:spcBef>
              <a:spcAft>
                <a:spcPct val="0"/>
              </a:spcAft>
              <a:defRPr sz="4847" b="1">
                <a:solidFill>
                  <a:schemeClr val="accent2"/>
                </a:solidFill>
                <a:latin typeface="Neo Sans Intel Medium" pitchFamily="34" charset="0"/>
              </a:defRPr>
            </a:lvl4pPr>
            <a:lvl5pPr algn="ctr" rtl="0" eaLnBrk="1" fontAlgn="base" hangingPunct="1">
              <a:spcBef>
                <a:spcPct val="0"/>
              </a:spcBef>
              <a:spcAft>
                <a:spcPct val="0"/>
              </a:spcAft>
              <a:defRPr sz="4847" b="1">
                <a:solidFill>
                  <a:schemeClr val="accent2"/>
                </a:solidFill>
                <a:latin typeface="Neo Sans Intel Medium" pitchFamily="34" charset="0"/>
              </a:defRPr>
            </a:lvl5pPr>
            <a:lvl6pPr marL="554035" algn="ctr" rtl="0" eaLnBrk="1" fontAlgn="base" hangingPunct="1">
              <a:spcBef>
                <a:spcPct val="0"/>
              </a:spcBef>
              <a:spcAft>
                <a:spcPct val="0"/>
              </a:spcAft>
              <a:defRPr sz="4847" b="1">
                <a:solidFill>
                  <a:schemeClr val="accent2"/>
                </a:solidFill>
                <a:latin typeface="Neo Sans Intel Medium" pitchFamily="34" charset="0"/>
              </a:defRPr>
            </a:lvl6pPr>
            <a:lvl7pPr marL="1108070" algn="ctr" rtl="0" eaLnBrk="1" fontAlgn="base" hangingPunct="1">
              <a:spcBef>
                <a:spcPct val="0"/>
              </a:spcBef>
              <a:spcAft>
                <a:spcPct val="0"/>
              </a:spcAft>
              <a:defRPr sz="4847" b="1">
                <a:solidFill>
                  <a:schemeClr val="accent2"/>
                </a:solidFill>
                <a:latin typeface="Neo Sans Intel Medium" pitchFamily="34" charset="0"/>
              </a:defRPr>
            </a:lvl7pPr>
            <a:lvl8pPr marL="1662105" algn="ctr" rtl="0" eaLnBrk="1" fontAlgn="base" hangingPunct="1">
              <a:spcBef>
                <a:spcPct val="0"/>
              </a:spcBef>
              <a:spcAft>
                <a:spcPct val="0"/>
              </a:spcAft>
              <a:defRPr sz="4847" b="1">
                <a:solidFill>
                  <a:schemeClr val="accent2"/>
                </a:solidFill>
                <a:latin typeface="Neo Sans Intel Medium" pitchFamily="34" charset="0"/>
              </a:defRPr>
            </a:lvl8pPr>
            <a:lvl9pPr marL="2216140" algn="ctr" rtl="0" eaLnBrk="1" fontAlgn="base" hangingPunct="1">
              <a:spcBef>
                <a:spcPct val="0"/>
              </a:spcBef>
              <a:spcAft>
                <a:spcPct val="0"/>
              </a:spcAft>
              <a:defRPr sz="4847" b="1">
                <a:solidFill>
                  <a:schemeClr val="accent2"/>
                </a:solidFill>
                <a:latin typeface="Neo Sans Intel Medium" pitchFamily="34" charset="0"/>
              </a:defRPr>
            </a:lvl9pPr>
          </a:lstStyle>
          <a:p>
            <a:pPr defTabSz="914400"/>
            <a:br>
              <a:rPr lang="en-US" sz="2400" kern="0" dirty="0"/>
            </a:br>
            <a:r>
              <a:rPr lang="en-US" sz="2400" kern="0" dirty="0"/>
              <a:t>Wire-bonded package micro bumped to an organic substrate surface mounted on PCB</a:t>
            </a:r>
          </a:p>
        </p:txBody>
      </p:sp>
    </p:spTree>
    <p:extLst>
      <p:ext uri="{BB962C8B-B14F-4D97-AF65-F5344CB8AC3E}">
        <p14:creationId xmlns:p14="http://schemas.microsoft.com/office/powerpoint/2010/main" val="3898640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2386F1B-5E77-F3E5-45BF-95A5B49F347E}"/>
              </a:ext>
            </a:extLst>
          </p:cNvPr>
          <p:cNvPicPr>
            <a:picLocks noChangeAspect="1"/>
          </p:cNvPicPr>
          <p:nvPr/>
        </p:nvPicPr>
        <p:blipFill>
          <a:blip r:embed="rId2"/>
          <a:stretch>
            <a:fillRect/>
          </a:stretch>
        </p:blipFill>
        <p:spPr>
          <a:xfrm>
            <a:off x="4549568" y="1667691"/>
            <a:ext cx="2590800" cy="2057400"/>
          </a:xfrm>
          <a:prstGeom prst="rect">
            <a:avLst/>
          </a:prstGeom>
        </p:spPr>
      </p:pic>
      <p:sp>
        <p:nvSpPr>
          <p:cNvPr id="2" name="Title 1">
            <a:extLst>
              <a:ext uri="{FF2B5EF4-FFF2-40B4-BE49-F238E27FC236}">
                <a16:creationId xmlns:a16="http://schemas.microsoft.com/office/drawing/2014/main" id="{64B34EFE-060A-4E45-04BB-1DD7C65A93BC}"/>
              </a:ext>
            </a:extLst>
          </p:cNvPr>
          <p:cNvSpPr>
            <a:spLocks noGrp="1"/>
          </p:cNvSpPr>
          <p:nvPr>
            <p:ph type="title"/>
          </p:nvPr>
        </p:nvSpPr>
        <p:spPr/>
        <p:txBody>
          <a:bodyPr/>
          <a:lstStyle/>
          <a:p>
            <a:r>
              <a:rPr lang="en-US" sz="3600" dirty="0"/>
              <a:t>HBM in Accelerator</a:t>
            </a:r>
            <a:br>
              <a:rPr lang="en-US" sz="2800" dirty="0"/>
            </a:br>
            <a:endParaRPr lang="en-US" sz="2800" dirty="0"/>
          </a:p>
        </p:txBody>
      </p:sp>
      <p:pic>
        <p:nvPicPr>
          <p:cNvPr id="7" name="Picture 6">
            <a:extLst>
              <a:ext uri="{FF2B5EF4-FFF2-40B4-BE49-F238E27FC236}">
                <a16:creationId xmlns:a16="http://schemas.microsoft.com/office/drawing/2014/main" id="{B558AD2A-BCA3-D8B8-0BED-79E44893CFB0}"/>
              </a:ext>
            </a:extLst>
          </p:cNvPr>
          <p:cNvPicPr>
            <a:picLocks noChangeAspect="1"/>
          </p:cNvPicPr>
          <p:nvPr/>
        </p:nvPicPr>
        <p:blipFill>
          <a:blip r:embed="rId3"/>
          <a:stretch>
            <a:fillRect/>
          </a:stretch>
        </p:blipFill>
        <p:spPr>
          <a:xfrm>
            <a:off x="840605" y="2080926"/>
            <a:ext cx="4072975" cy="1842299"/>
          </a:xfrm>
          <a:prstGeom prst="rect">
            <a:avLst/>
          </a:prstGeom>
        </p:spPr>
      </p:pic>
      <p:pic>
        <p:nvPicPr>
          <p:cNvPr id="5" name="Picture 4">
            <a:extLst>
              <a:ext uri="{FF2B5EF4-FFF2-40B4-BE49-F238E27FC236}">
                <a16:creationId xmlns:a16="http://schemas.microsoft.com/office/drawing/2014/main" id="{ECA677B6-303E-9524-68E8-1EC770B4BD85}"/>
              </a:ext>
            </a:extLst>
          </p:cNvPr>
          <p:cNvPicPr>
            <a:picLocks noChangeAspect="1"/>
          </p:cNvPicPr>
          <p:nvPr/>
        </p:nvPicPr>
        <p:blipFill>
          <a:blip r:embed="rId4"/>
          <a:stretch>
            <a:fillRect/>
          </a:stretch>
        </p:blipFill>
        <p:spPr>
          <a:xfrm>
            <a:off x="118002" y="1270715"/>
            <a:ext cx="4060892" cy="1275359"/>
          </a:xfrm>
          <a:prstGeom prst="rect">
            <a:avLst/>
          </a:prstGeom>
        </p:spPr>
      </p:pic>
      <p:pic>
        <p:nvPicPr>
          <p:cNvPr id="9" name="Picture 8">
            <a:extLst>
              <a:ext uri="{FF2B5EF4-FFF2-40B4-BE49-F238E27FC236}">
                <a16:creationId xmlns:a16="http://schemas.microsoft.com/office/drawing/2014/main" id="{6DA863D5-E6AA-F869-D026-D4C6EA22C0F8}"/>
              </a:ext>
            </a:extLst>
          </p:cNvPr>
          <p:cNvPicPr>
            <a:picLocks noChangeAspect="1"/>
          </p:cNvPicPr>
          <p:nvPr/>
        </p:nvPicPr>
        <p:blipFill rotWithShape="1">
          <a:blip r:embed="rId5"/>
          <a:srcRect t="5114"/>
          <a:stretch/>
        </p:blipFill>
        <p:spPr>
          <a:xfrm>
            <a:off x="801071" y="2467051"/>
            <a:ext cx="9569006" cy="3951812"/>
          </a:xfrm>
          <a:prstGeom prst="rect">
            <a:avLst/>
          </a:prstGeom>
        </p:spPr>
      </p:pic>
      <p:pic>
        <p:nvPicPr>
          <p:cNvPr id="10" name="Picture 9">
            <a:extLst>
              <a:ext uri="{FF2B5EF4-FFF2-40B4-BE49-F238E27FC236}">
                <a16:creationId xmlns:a16="http://schemas.microsoft.com/office/drawing/2014/main" id="{40918BC1-48C4-5AE2-7A9B-4B27D4584099}"/>
              </a:ext>
            </a:extLst>
          </p:cNvPr>
          <p:cNvPicPr>
            <a:picLocks noChangeAspect="1"/>
          </p:cNvPicPr>
          <p:nvPr/>
        </p:nvPicPr>
        <p:blipFill>
          <a:blip r:embed="rId6"/>
          <a:stretch>
            <a:fillRect/>
          </a:stretch>
        </p:blipFill>
        <p:spPr>
          <a:xfrm>
            <a:off x="8148141" y="1939969"/>
            <a:ext cx="3375487" cy="1212209"/>
          </a:xfrm>
          <a:prstGeom prst="rect">
            <a:avLst/>
          </a:prstGeom>
        </p:spPr>
      </p:pic>
      <p:cxnSp>
        <p:nvCxnSpPr>
          <p:cNvPr id="12" name="Straight Connector 11">
            <a:extLst>
              <a:ext uri="{FF2B5EF4-FFF2-40B4-BE49-F238E27FC236}">
                <a16:creationId xmlns:a16="http://schemas.microsoft.com/office/drawing/2014/main" id="{1D79E990-CF7E-3D5D-620F-B616F5B6694B}"/>
              </a:ext>
            </a:extLst>
          </p:cNvPr>
          <p:cNvCxnSpPr/>
          <p:nvPr/>
        </p:nvCxnSpPr>
        <p:spPr>
          <a:xfrm>
            <a:off x="5120640" y="2394857"/>
            <a:ext cx="1454331" cy="0"/>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3" name="Freeform 12">
            <a:extLst>
              <a:ext uri="{FF2B5EF4-FFF2-40B4-BE49-F238E27FC236}">
                <a16:creationId xmlns:a16="http://schemas.microsoft.com/office/drawing/2014/main" id="{7C86B141-9B64-F912-B3F8-121314D6F6CF}"/>
              </a:ext>
            </a:extLst>
          </p:cNvPr>
          <p:cNvSpPr/>
          <p:nvPr/>
        </p:nvSpPr>
        <p:spPr>
          <a:xfrm>
            <a:off x="6297519" y="1218874"/>
            <a:ext cx="3431177" cy="1103790"/>
          </a:xfrm>
          <a:custGeom>
            <a:avLst/>
            <a:gdLst>
              <a:gd name="connsiteX0" fmla="*/ 0 w 2360023"/>
              <a:gd name="connsiteY0" fmla="*/ 997783 h 997783"/>
              <a:gd name="connsiteX1" fmla="*/ 1158240 w 2360023"/>
              <a:gd name="connsiteY1" fmla="*/ 5005 h 997783"/>
              <a:gd name="connsiteX2" fmla="*/ 2360023 w 2360023"/>
              <a:gd name="connsiteY2" fmla="*/ 684274 h 997783"/>
            </a:gdLst>
            <a:ahLst/>
            <a:cxnLst>
              <a:cxn ang="0">
                <a:pos x="connsiteX0" y="connsiteY0"/>
              </a:cxn>
              <a:cxn ang="0">
                <a:pos x="connsiteX1" y="connsiteY1"/>
              </a:cxn>
              <a:cxn ang="0">
                <a:pos x="connsiteX2" y="connsiteY2"/>
              </a:cxn>
            </a:cxnLst>
            <a:rect l="l" t="t" r="r" b="b"/>
            <a:pathLst>
              <a:path w="2360023" h="997783">
                <a:moveTo>
                  <a:pt x="0" y="997783"/>
                </a:moveTo>
                <a:cubicBezTo>
                  <a:pt x="382451" y="527519"/>
                  <a:pt x="764903" y="57256"/>
                  <a:pt x="1158240" y="5005"/>
                </a:cubicBezTo>
                <a:cubicBezTo>
                  <a:pt x="1551577" y="-47246"/>
                  <a:pt x="1955800" y="318514"/>
                  <a:pt x="2360023" y="684274"/>
                </a:cubicBezTo>
              </a:path>
            </a:pathLst>
          </a:custGeom>
          <a:noFill/>
          <a:ln w="38100">
            <a:solidFill>
              <a:schemeClr val="accent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C0D8F5D9-B314-FD63-8D9A-04FEC0EEC6FC}"/>
              </a:ext>
            </a:extLst>
          </p:cNvPr>
          <p:cNvSpPr/>
          <p:nvPr/>
        </p:nvSpPr>
        <p:spPr>
          <a:xfrm>
            <a:off x="7887857" y="2319736"/>
            <a:ext cx="3559421" cy="3622765"/>
          </a:xfrm>
          <a:custGeom>
            <a:avLst/>
            <a:gdLst>
              <a:gd name="connsiteX0" fmla="*/ 1454332 w 3559421"/>
              <a:gd name="connsiteY0" fmla="*/ 0 h 3622765"/>
              <a:gd name="connsiteX1" fmla="*/ 3526972 w 3559421"/>
              <a:gd name="connsiteY1" fmla="*/ 2238102 h 3622765"/>
              <a:gd name="connsiteX2" fmla="*/ 0 w 3559421"/>
              <a:gd name="connsiteY2" fmla="*/ 3622765 h 3622765"/>
            </a:gdLst>
            <a:ahLst/>
            <a:cxnLst>
              <a:cxn ang="0">
                <a:pos x="connsiteX0" y="connsiteY0"/>
              </a:cxn>
              <a:cxn ang="0">
                <a:pos x="connsiteX1" y="connsiteY1"/>
              </a:cxn>
              <a:cxn ang="0">
                <a:pos x="connsiteX2" y="connsiteY2"/>
              </a:cxn>
            </a:cxnLst>
            <a:rect l="l" t="t" r="r" b="b"/>
            <a:pathLst>
              <a:path w="3559421" h="3622765">
                <a:moveTo>
                  <a:pt x="1454332" y="0"/>
                </a:moveTo>
                <a:cubicBezTo>
                  <a:pt x="2611846" y="817154"/>
                  <a:pt x="3769361" y="1634308"/>
                  <a:pt x="3526972" y="2238102"/>
                </a:cubicBezTo>
                <a:cubicBezTo>
                  <a:pt x="3284583" y="2841896"/>
                  <a:pt x="1642291" y="3232330"/>
                  <a:pt x="0" y="3622765"/>
                </a:cubicBezTo>
              </a:path>
            </a:pathLst>
          </a:custGeom>
          <a:noFill/>
          <a:ln w="38100">
            <a:solidFill>
              <a:schemeClr val="accent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81DF9386-6870-8FB2-B07F-EE8C8A96DBD9}"/>
              </a:ext>
            </a:extLst>
          </p:cNvPr>
          <p:cNvSpPr txBox="1">
            <a:spLocks/>
          </p:cNvSpPr>
          <p:nvPr/>
        </p:nvSpPr>
        <p:spPr bwMode="auto">
          <a:xfrm>
            <a:off x="770692" y="182540"/>
            <a:ext cx="10363200" cy="838200"/>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4847" b="1">
                <a:solidFill>
                  <a:schemeClr val="accent2"/>
                </a:solidFill>
                <a:latin typeface="Calibri" pitchFamily="34" charset="0"/>
                <a:ea typeface="+mj-ea"/>
                <a:cs typeface="Calibri" pitchFamily="34" charset="0"/>
              </a:defRPr>
            </a:lvl1pPr>
            <a:lvl2pPr algn="ctr" rtl="0" eaLnBrk="1" fontAlgn="base" hangingPunct="1">
              <a:spcBef>
                <a:spcPct val="0"/>
              </a:spcBef>
              <a:spcAft>
                <a:spcPct val="0"/>
              </a:spcAft>
              <a:defRPr sz="4847" b="1">
                <a:solidFill>
                  <a:schemeClr val="accent2"/>
                </a:solidFill>
                <a:latin typeface="Neo Sans Intel Medium" pitchFamily="34" charset="0"/>
              </a:defRPr>
            </a:lvl2pPr>
            <a:lvl3pPr algn="ctr" rtl="0" eaLnBrk="1" fontAlgn="base" hangingPunct="1">
              <a:spcBef>
                <a:spcPct val="0"/>
              </a:spcBef>
              <a:spcAft>
                <a:spcPct val="0"/>
              </a:spcAft>
              <a:defRPr sz="4847" b="1">
                <a:solidFill>
                  <a:schemeClr val="accent2"/>
                </a:solidFill>
                <a:latin typeface="Neo Sans Intel Medium" pitchFamily="34" charset="0"/>
              </a:defRPr>
            </a:lvl3pPr>
            <a:lvl4pPr algn="ctr" rtl="0" eaLnBrk="1" fontAlgn="base" hangingPunct="1">
              <a:spcBef>
                <a:spcPct val="0"/>
              </a:spcBef>
              <a:spcAft>
                <a:spcPct val="0"/>
              </a:spcAft>
              <a:defRPr sz="4847" b="1">
                <a:solidFill>
                  <a:schemeClr val="accent2"/>
                </a:solidFill>
                <a:latin typeface="Neo Sans Intel Medium" pitchFamily="34" charset="0"/>
              </a:defRPr>
            </a:lvl4pPr>
            <a:lvl5pPr algn="ctr" rtl="0" eaLnBrk="1" fontAlgn="base" hangingPunct="1">
              <a:spcBef>
                <a:spcPct val="0"/>
              </a:spcBef>
              <a:spcAft>
                <a:spcPct val="0"/>
              </a:spcAft>
              <a:defRPr sz="4847" b="1">
                <a:solidFill>
                  <a:schemeClr val="accent2"/>
                </a:solidFill>
                <a:latin typeface="Neo Sans Intel Medium" pitchFamily="34" charset="0"/>
              </a:defRPr>
            </a:lvl5pPr>
            <a:lvl6pPr marL="554035" algn="ctr" rtl="0" eaLnBrk="1" fontAlgn="base" hangingPunct="1">
              <a:spcBef>
                <a:spcPct val="0"/>
              </a:spcBef>
              <a:spcAft>
                <a:spcPct val="0"/>
              </a:spcAft>
              <a:defRPr sz="4847" b="1">
                <a:solidFill>
                  <a:schemeClr val="accent2"/>
                </a:solidFill>
                <a:latin typeface="Neo Sans Intel Medium" pitchFamily="34" charset="0"/>
              </a:defRPr>
            </a:lvl6pPr>
            <a:lvl7pPr marL="1108070" algn="ctr" rtl="0" eaLnBrk="1" fontAlgn="base" hangingPunct="1">
              <a:spcBef>
                <a:spcPct val="0"/>
              </a:spcBef>
              <a:spcAft>
                <a:spcPct val="0"/>
              </a:spcAft>
              <a:defRPr sz="4847" b="1">
                <a:solidFill>
                  <a:schemeClr val="accent2"/>
                </a:solidFill>
                <a:latin typeface="Neo Sans Intel Medium" pitchFamily="34" charset="0"/>
              </a:defRPr>
            </a:lvl7pPr>
            <a:lvl8pPr marL="1662105" algn="ctr" rtl="0" eaLnBrk="1" fontAlgn="base" hangingPunct="1">
              <a:spcBef>
                <a:spcPct val="0"/>
              </a:spcBef>
              <a:spcAft>
                <a:spcPct val="0"/>
              </a:spcAft>
              <a:defRPr sz="4847" b="1">
                <a:solidFill>
                  <a:schemeClr val="accent2"/>
                </a:solidFill>
                <a:latin typeface="Neo Sans Intel Medium" pitchFamily="34" charset="0"/>
              </a:defRPr>
            </a:lvl8pPr>
            <a:lvl9pPr marL="2216140" algn="ctr" rtl="0" eaLnBrk="1" fontAlgn="base" hangingPunct="1">
              <a:spcBef>
                <a:spcPct val="0"/>
              </a:spcBef>
              <a:spcAft>
                <a:spcPct val="0"/>
              </a:spcAft>
              <a:defRPr sz="4847" b="1">
                <a:solidFill>
                  <a:schemeClr val="accent2"/>
                </a:solidFill>
                <a:latin typeface="Neo Sans Intel Medium" pitchFamily="34" charset="0"/>
              </a:defRPr>
            </a:lvl9pPr>
          </a:lstStyle>
          <a:p>
            <a:pPr defTabSz="914400"/>
            <a:br>
              <a:rPr lang="en-US" sz="2800" kern="0"/>
            </a:br>
            <a:r>
              <a:rPr lang="en-US" sz="2400" kern="0">
                <a:highlight>
                  <a:srgbClr val="FFFF00"/>
                </a:highlight>
              </a:rPr>
              <a:t>2.3D </a:t>
            </a:r>
            <a:r>
              <a:rPr lang="en-US" sz="2400" kern="0" dirty="0">
                <a:highlight>
                  <a:srgbClr val="FFFF00"/>
                </a:highlight>
              </a:rPr>
              <a:t>µB/TSV </a:t>
            </a:r>
            <a:r>
              <a:rPr lang="en-US" sz="2400" kern="0" dirty="0" err="1">
                <a:highlight>
                  <a:srgbClr val="FFFF00"/>
                </a:highlight>
              </a:rPr>
              <a:t>CoW</a:t>
            </a:r>
            <a:r>
              <a:rPr lang="en-US" sz="2400" kern="0" dirty="0">
                <a:highlight>
                  <a:srgbClr val="FFFF00"/>
                </a:highlight>
              </a:rPr>
              <a:t> Memory (8+1) chip stack in a 2.3D FO EB Module </a:t>
            </a:r>
            <a:endParaRPr lang="en-US" sz="2800" kern="0" dirty="0">
              <a:highlight>
                <a:srgbClr val="FFFF00"/>
              </a:highlight>
            </a:endParaRPr>
          </a:p>
        </p:txBody>
      </p:sp>
    </p:spTree>
    <p:extLst>
      <p:ext uri="{BB962C8B-B14F-4D97-AF65-F5344CB8AC3E}">
        <p14:creationId xmlns:p14="http://schemas.microsoft.com/office/powerpoint/2010/main" val="2616025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1C233-2EA3-FD8A-569F-F54B17BDC40E}"/>
              </a:ext>
            </a:extLst>
          </p:cNvPr>
          <p:cNvSpPr>
            <a:spLocks noGrp="1"/>
          </p:cNvSpPr>
          <p:nvPr>
            <p:ph type="title"/>
          </p:nvPr>
        </p:nvSpPr>
        <p:spPr/>
        <p:txBody>
          <a:bodyPr/>
          <a:lstStyle/>
          <a:p>
            <a:r>
              <a:rPr lang="en-US" sz="3200" dirty="0"/>
              <a:t>Disaggregated SRAM – AMD Zen 3 CCD V-Cache</a:t>
            </a:r>
            <a:br>
              <a:rPr lang="en-US" sz="3200" dirty="0"/>
            </a:br>
            <a:r>
              <a:rPr lang="en-US" sz="2400" dirty="0"/>
              <a:t> 7nm SRAM </a:t>
            </a:r>
            <a:r>
              <a:rPr lang="en-US" sz="2400" dirty="0" err="1"/>
              <a:t>CoW</a:t>
            </a:r>
            <a:r>
              <a:rPr lang="en-US" sz="2400" dirty="0"/>
              <a:t> F2B 9µm HBI to Logic Base die</a:t>
            </a:r>
            <a:endParaRPr lang="en-US" sz="3200" dirty="0"/>
          </a:p>
        </p:txBody>
      </p:sp>
      <p:pic>
        <p:nvPicPr>
          <p:cNvPr id="3" name="Picture 2">
            <a:extLst>
              <a:ext uri="{FF2B5EF4-FFF2-40B4-BE49-F238E27FC236}">
                <a16:creationId xmlns:a16="http://schemas.microsoft.com/office/drawing/2014/main" id="{CD16992B-244D-8FEF-D1B9-E07D4C76728C}"/>
              </a:ext>
            </a:extLst>
          </p:cNvPr>
          <p:cNvPicPr>
            <a:picLocks noChangeAspect="1"/>
          </p:cNvPicPr>
          <p:nvPr/>
        </p:nvPicPr>
        <p:blipFill>
          <a:blip r:embed="rId2"/>
          <a:stretch>
            <a:fillRect/>
          </a:stretch>
        </p:blipFill>
        <p:spPr>
          <a:xfrm>
            <a:off x="1208767" y="1192307"/>
            <a:ext cx="9774466" cy="5047128"/>
          </a:xfrm>
          <a:prstGeom prst="rect">
            <a:avLst/>
          </a:prstGeom>
        </p:spPr>
      </p:pic>
      <p:pic>
        <p:nvPicPr>
          <p:cNvPr id="4" name="Picture 3">
            <a:extLst>
              <a:ext uri="{FF2B5EF4-FFF2-40B4-BE49-F238E27FC236}">
                <a16:creationId xmlns:a16="http://schemas.microsoft.com/office/drawing/2014/main" id="{30E8127F-019E-E071-D76B-800F08314A6A}"/>
              </a:ext>
            </a:extLst>
          </p:cNvPr>
          <p:cNvPicPr>
            <a:picLocks noChangeAspect="1"/>
          </p:cNvPicPr>
          <p:nvPr/>
        </p:nvPicPr>
        <p:blipFill>
          <a:blip r:embed="rId3"/>
          <a:stretch>
            <a:fillRect/>
          </a:stretch>
        </p:blipFill>
        <p:spPr>
          <a:xfrm>
            <a:off x="1208767" y="1084731"/>
            <a:ext cx="4435330" cy="1142999"/>
          </a:xfrm>
          <a:prstGeom prst="rect">
            <a:avLst/>
          </a:prstGeom>
        </p:spPr>
      </p:pic>
    </p:spTree>
    <p:extLst>
      <p:ext uri="{BB962C8B-B14F-4D97-AF65-F5344CB8AC3E}">
        <p14:creationId xmlns:p14="http://schemas.microsoft.com/office/powerpoint/2010/main" val="4165855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_.IovF0XRLVkxqouOuq6g"/>
</p:tagLst>
</file>

<file path=ppt/theme/theme1.xml><?xml version="1.0" encoding="utf-8"?>
<a:theme xmlns:a="http://schemas.openxmlformats.org/drawingml/2006/main" name="blank">
  <a:themeElements>
    <a:clrScheme name="Custom 2">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C00000"/>
      </a:hlink>
      <a:folHlink>
        <a:srgbClr val="0066FF"/>
      </a:folHlink>
    </a:clrScheme>
    <a:fontScheme name="Analog Elements Learning">
      <a:majorFont>
        <a:latin typeface="Neo Sans Intel Medium"/>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olidFill>
            <a:schemeClr val="accent2"/>
          </a:solidFill>
          <a:headEnd type="none" w="med" len="med"/>
          <a:tailEnd type="arrow" w="med" len="med"/>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raClrScheme>
      <a:clrScheme name="Analog Elements Learning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Analog Elements Learning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Analog Elements Learning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Analog Elements Learning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Analog Elements Learning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Analog Elements Learning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Analog Elements Learning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CE47CDF4-E903-5740-8B7A-37FE3D2FD544}" vid="{82FDEB5B-D09A-2F40-BE21-7BE94F973DD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C1F46DCE9E2F4F9C406A5B31F187EA" ma:contentTypeVersion="3" ma:contentTypeDescription="Create a new document." ma:contentTypeScope="" ma:versionID="04459668d14e26c729f944268f7885eb">
  <xsd:schema xmlns:xsd="http://www.w3.org/2001/XMLSchema" xmlns:xs="http://www.w3.org/2001/XMLSchema" xmlns:p="http://schemas.microsoft.com/office/2006/metadata/properties" xmlns:ns2="90b7a245-a7c3-4504-88b2-cf85318e6b78" targetNamespace="http://schemas.microsoft.com/office/2006/metadata/properties" ma:root="true" ma:fieldsID="2d0c6bccf2654138a3d8763ce5403cee" ns2:_="">
    <xsd:import namespace="90b7a245-a7c3-4504-88b2-cf85318e6b78"/>
    <xsd:element name="properties">
      <xsd:complexType>
        <xsd:sequence>
          <xsd:element name="documentManagement">
            <xsd:complexType>
              <xsd:all>
                <xsd:element ref="ns2:Date"/>
                <xsd:element ref="ns2:Agenda"/>
                <xsd:element ref="ns2:Present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b7a245-a7c3-4504-88b2-cf85318e6b78" elementFormDefault="qualified">
    <xsd:import namespace="http://schemas.microsoft.com/office/2006/documentManagement/types"/>
    <xsd:import namespace="http://schemas.microsoft.com/office/infopath/2007/PartnerControls"/>
    <xsd:element name="Date" ma:index="8" ma:displayName="Meeting Date" ma:format="DateOnly" ma:internalName="Date">
      <xsd:simpleType>
        <xsd:restriction base="dms:DateTime"/>
      </xsd:simpleType>
    </xsd:element>
    <xsd:element name="Agenda" ma:index="9" ma:displayName="Agenda Topic" ma:internalName="Agenda">
      <xsd:simpleType>
        <xsd:restriction base="dms:Text">
          <xsd:maxLength value="255"/>
        </xsd:restriction>
      </xsd:simpleType>
    </xsd:element>
    <xsd:element name="Presenter" ma:index="10" ma:displayName="Presenter" ma:internalName="Presenter">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genda xmlns="90b7a245-a7c3-4504-88b2-cf85318e6b78">SD for Rev 7</Agenda>
    <Date xmlns="90b7a245-a7c3-4504-88b2-cf85318e6b78">2016-03-15T00:00:00-07:00</Date>
    <Presenter xmlns="90b7a245-a7c3-4504-88b2-cf85318e6b78">DerChang Kau</Presenter>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B8EBDB-013A-44C4-B714-038C8F2517DD}">
  <ds:schemaRefs>
    <ds:schemaRef ds:uri="90b7a245-a7c3-4504-88b2-cf85318e6b7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7A9757D6-16EA-49DF-BF94-FEF25FAF8351}">
  <ds:schemaRefs>
    <ds:schemaRef ds:uri="http://schemas.openxmlformats.org/package/2006/metadata/core-properties"/>
    <ds:schemaRef ds:uri="http://purl.org/dc/dcmitype/"/>
    <ds:schemaRef ds:uri="90b7a245-a7c3-4504-88b2-cf85318e6b78"/>
    <ds:schemaRef ds:uri="http://purl.org/dc/elements/1.1/"/>
    <ds:schemaRef ds:uri="http://schemas.microsoft.com/office/2006/documentManagement/types"/>
    <ds:schemaRef ds:uri="http://schemas.microsoft.com/office/infopath/2007/PartnerControls"/>
    <ds:schemaRef ds:uri="http://purl.org/dc/term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723BD8A-0332-458A-BADF-7C67442761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286</TotalTime>
  <Words>3909</Words>
  <Application>Microsoft Macintosh PowerPoint</Application>
  <PresentationFormat>Widescreen</PresentationFormat>
  <Paragraphs>997</Paragraphs>
  <Slides>43</Slides>
  <Notes>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8" baseType="lpstr">
      <vt:lpstr>Arimo</vt:lpstr>
      <vt:lpstr>inherit</vt:lpstr>
      <vt:lpstr>Neo Sans Intel</vt:lpstr>
      <vt:lpstr>Neo Sans Intel Medium</vt:lpstr>
      <vt:lpstr>Arial</vt:lpstr>
      <vt:lpstr>Calibri</vt:lpstr>
      <vt:lpstr>Intel Clear Light</vt:lpstr>
      <vt:lpstr>Intel Clear Pro</vt:lpstr>
      <vt:lpstr>IntelOne Display Light</vt:lpstr>
      <vt:lpstr>IntelOne Display Medium</vt:lpstr>
      <vt:lpstr>IntelOne Display Regular</vt:lpstr>
      <vt:lpstr>IntelOne Text</vt:lpstr>
      <vt:lpstr>Lucida Console</vt:lpstr>
      <vt:lpstr>blank</vt:lpstr>
      <vt:lpstr>think-cell Slide</vt:lpstr>
      <vt:lpstr>PowerPoint Presentation</vt:lpstr>
      <vt:lpstr>PowerPoint Presentation</vt:lpstr>
      <vt:lpstr>Memory Technology</vt:lpstr>
      <vt:lpstr>Memory Technology Construct in System hierarchy</vt:lpstr>
      <vt:lpstr>DDR is Memory Module Socketed on PCB</vt:lpstr>
      <vt:lpstr>LPDDR5 in Phone Wire-bonded Package surface mounted on a PCB</vt:lpstr>
      <vt:lpstr>LPDDR5 in Client Compute System </vt:lpstr>
      <vt:lpstr>HBM in Accelerator </vt:lpstr>
      <vt:lpstr>Disaggregated SRAM – AMD Zen 3 CCD V-Cache  7nm SRAM CoW F2B 9µm HBI to Logic Base die</vt:lpstr>
      <vt:lpstr>Custom DRAM (i) – MCP for Client Compute ~60nm 1T1C DRAM (~7nm 6T SRAM eq.) + 14nm Logic  </vt:lpstr>
      <vt:lpstr>Custom DRAM (ii) – Cryptographic Hashing </vt:lpstr>
      <vt:lpstr>PowerPoint Presentation</vt:lpstr>
      <vt:lpstr>Beyond HBM3 – JEDEC In Package Memory </vt:lpstr>
      <vt:lpstr>Beyond HBM3 – Custom In Package Memory </vt:lpstr>
      <vt:lpstr>IPM Benchmark</vt:lpstr>
      <vt:lpstr>Incumbent Technologies in Memory/Storage Hierarchy</vt:lpstr>
      <vt:lpstr>Memory Hierarchy</vt:lpstr>
      <vt:lpstr>Strategy for Memory Subsystem  Exploration, Development and Deployment </vt:lpstr>
      <vt:lpstr>Component (die) Attributes</vt:lpstr>
      <vt:lpstr>Normalized Performance</vt:lpstr>
      <vt:lpstr>Performance Benchmark of a 100mm2 die</vt:lpstr>
      <vt:lpstr>IPM Selection</vt:lpstr>
      <vt:lpstr>Generalized Control Access</vt:lpstr>
      <vt:lpstr>Data Access: Generic Segmentation for PPA benchmark</vt:lpstr>
      <vt:lpstr>R/W Access Timing</vt:lpstr>
      <vt:lpstr>IPM Metric and Optionality</vt:lpstr>
      <vt:lpstr>Supporting Materials</vt:lpstr>
      <vt:lpstr>Data Access: Generic Segmentation for PPA benchmark</vt:lpstr>
      <vt:lpstr>R/W Access Timing</vt:lpstr>
      <vt:lpstr>HBM3 JEDEC Spec</vt:lpstr>
      <vt:lpstr>TCD macro key metrics (High Bandwidth)</vt:lpstr>
      <vt:lpstr>TCD macro key metrics (High Capacity)</vt:lpstr>
      <vt:lpstr>PowerPoint Presentation</vt:lpstr>
      <vt:lpstr>PowerPoint Presentation</vt:lpstr>
      <vt:lpstr>PowerPoint Presentation</vt:lpstr>
      <vt:lpstr>PowerPoint Presentation</vt:lpstr>
      <vt:lpstr>PowerPoint Presentation</vt:lpstr>
      <vt:lpstr>PowerPoint Presentation</vt:lpstr>
      <vt:lpstr>3D System implementation for ARL/ELASTI with ADM memory learning</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u, Derchang</dc:creator>
  <cp:keywords>CTPClassification=CTP_NT</cp:keywords>
  <cp:lastModifiedBy>Kau, Derchang</cp:lastModifiedBy>
  <cp:revision>1</cp:revision>
  <dcterms:created xsi:type="dcterms:W3CDTF">2023-11-07T22:52:52Z</dcterms:created>
  <dcterms:modified xsi:type="dcterms:W3CDTF">2023-11-28T17:4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C1F46DCE9E2F4F9C406A5B31F187EA</vt:lpwstr>
  </property>
  <property fmtid="{D5CDD505-2E9C-101B-9397-08002B2CF9AE}" pid="3" name="TitusGUID">
    <vt:lpwstr>18736c36-3ecb-425e-9f87-88ac498b04cd</vt:lpwstr>
  </property>
  <property fmtid="{D5CDD505-2E9C-101B-9397-08002B2CF9AE}" pid="4" name="CTP_TimeStamp">
    <vt:lpwstr>2018-08-10 06:13:33Z</vt:lpwstr>
  </property>
  <property fmtid="{D5CDD505-2E9C-101B-9397-08002B2CF9AE}" pid="5" name="CTP_BU">
    <vt:lpwstr>NA</vt:lpwstr>
  </property>
  <property fmtid="{D5CDD505-2E9C-101B-9397-08002B2CF9AE}" pid="6" name="CTP_IDSID">
    <vt:lpwstr>NA</vt:lpwstr>
  </property>
  <property fmtid="{D5CDD505-2E9C-101B-9397-08002B2CF9AE}" pid="7" name="CTP_WWID">
    <vt:lpwstr>NA</vt:lpwstr>
  </property>
  <property fmtid="{D5CDD505-2E9C-101B-9397-08002B2CF9AE}" pid="8" name="CTPClassification">
    <vt:lpwstr>CTP_NT</vt:lpwstr>
  </property>
</Properties>
</file>